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3.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4.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5.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6.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8.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0.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23" r:id="rId4"/>
    <p:sldMasterId id="2147483974" r:id="rId5"/>
    <p:sldMasterId id="2147484047" r:id="rId6"/>
    <p:sldMasterId id="2147483881" r:id="rId7"/>
    <p:sldMasterId id="2147483684" r:id="rId8"/>
    <p:sldMasterId id="2147484076" r:id="rId9"/>
    <p:sldMasterId id="2147483908" r:id="rId10"/>
    <p:sldMasterId id="2147483709" r:id="rId11"/>
    <p:sldMasterId id="2147483693" r:id="rId12"/>
    <p:sldMasterId id="2147483648" r:id="rId13"/>
    <p:sldMasterId id="2147483666" r:id="rId14"/>
  </p:sldMasterIdLst>
  <p:notesMasterIdLst>
    <p:notesMasterId r:id="rId41"/>
  </p:notesMasterIdLst>
  <p:handoutMasterIdLst>
    <p:handoutMasterId r:id="rId42"/>
  </p:handoutMasterIdLst>
  <p:sldIdLst>
    <p:sldId id="256" r:id="rId15"/>
    <p:sldId id="3123" r:id="rId16"/>
    <p:sldId id="3330" r:id="rId17"/>
    <p:sldId id="3156" r:id="rId18"/>
    <p:sldId id="2419" r:id="rId19"/>
    <p:sldId id="2420" r:id="rId20"/>
    <p:sldId id="3327" r:id="rId21"/>
    <p:sldId id="2936" r:id="rId22"/>
    <p:sldId id="2937" r:id="rId23"/>
    <p:sldId id="2810" r:id="rId24"/>
    <p:sldId id="524" r:id="rId25"/>
    <p:sldId id="2807" r:id="rId26"/>
    <p:sldId id="2935" r:id="rId27"/>
    <p:sldId id="2828" r:id="rId28"/>
    <p:sldId id="461" r:id="rId29"/>
    <p:sldId id="795" r:id="rId30"/>
    <p:sldId id="3357" r:id="rId31"/>
    <p:sldId id="3300" r:id="rId32"/>
    <p:sldId id="3362" r:id="rId33"/>
    <p:sldId id="3186" r:id="rId34"/>
    <p:sldId id="3348" r:id="rId35"/>
    <p:sldId id="3184" r:id="rId36"/>
    <p:sldId id="2721" r:id="rId37"/>
    <p:sldId id="2689" r:id="rId38"/>
    <p:sldId id="324" r:id="rId39"/>
    <p:sldId id="318"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BD9206-BF92-8FD7-F29E-3008FBACD5B2}" name="Lopez, Cal" initials="LC" userId="S::Cal.Lopez@tea.texas.gov::f2c780ee-e1ef-4e91-9db8-e2e54a2423b9" providerId="AD"/>
  <p188:author id="{A6E48F10-4EC3-CB72-4A74-9601498CB34B}" name="Kravitz, Kelly" initials="KK" userId="S::kelly.kravitz@tea.texas.gov::d2ec9d74-de30-4424-8467-61dfa2e076f5" providerId="AD"/>
  <p188:author id="{E1B1AE13-B982-B5F0-BCE6-18DD1677171E}" name="Bowser, Jimmy" initials="BJ" userId="S::Jimmy.Bowser@tea.texas.gov::47eae1d9-3fdd-42c2-a9c6-b7f667afd651" providerId="AD"/>
  <p188:author id="{27528E3D-B749-1673-8690-2E013D5D5981}" name="Watson, LaTrenda" initials="WL" userId="S::LaTrenda.Watson@tea.texas.gov::afce5611-ab72-4ef2-b87a-7beb661a14fe" providerId="AD"/>
  <p188:author id="{DDC31B5E-E421-F15A-B6E6-D25D32C06759}" name="Davis, Nick" initials="DN" userId="S::nick.davis@tea.texas.gov::b912212d-ca92-4d14-9c60-8e7b5d9fce8f" providerId="AD"/>
  <p188:author id="{37CE6C79-BC85-DF4B-3CED-FF041DADF4A1}" name="Watson, LaTrenda" initials="WL" userId="S::latrenda.watson@tea.texas.gov::afce5611-ab72-4ef2-b87a-7beb661a14fe" providerId="AD"/>
  <p188:author id="{EC609488-3C11-DE2F-B730-929DE9E0FA09}" name="Porter, Justin" initials="PJ" userId="S::justin.porter@tea.texas.gov::ca7a5a55-e95a-4008-a2ec-e091953810ce" providerId="AD"/>
  <p188:author id="{9C9AC9AA-C3D7-B0EC-4CAE-4DA27E24BD2D}" name="Brown, Jordan" initials="BJ" userId="S::Jordan.Brown@tea.texas.gov::28e75e5a-eaee-4496-b242-32c3608910dc" providerId="AD"/>
  <p188:author id="{8BFBDAE2-524A-9DF8-ED37-EDF4BFBF3205}" name="Porter, Justin" initials="PJ" userId="S::Justin.Porter@tea.texas.gov::ca7a5a55-e95a-4008-a2ec-e091953810ce" providerId="AD"/>
  <p188:author id="{AFBA1FFA-F40B-D9E8-6040-84DAE2B71629}" name="Bowser, Jimmy" initials="BJ" userId="S::jimmy.bowser@tea.texas.gov::47eae1d9-3fdd-42c2-a9c6-b7f667afd651" providerId="AD"/>
  <p188:author id="{77E136FD-F53D-0E22-E064-C52252A669EB}" name="Kravitz, Kelly" initials="KK" userId="S::Kelly.Kravitz@tea.texas.gov::d2ec9d74-de30-4424-8467-61dfa2e076f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Watson, LaTrenda" initials="WL" lastIdx="3" clrIdx="6">
    <p:extLst>
      <p:ext uri="{19B8F6BF-5375-455C-9EA6-DF929625EA0E}">
        <p15:presenceInfo xmlns:p15="http://schemas.microsoft.com/office/powerpoint/2012/main" userId="S::latrenda.watson@tea.texas.gov::afce5611-ab72-4ef2-b87a-7beb661a14fe" providerId="AD"/>
      </p:ext>
    </p:extLst>
  </p:cmAuthor>
  <p:cmAuthor id="1" name="Kravitz, Kelly" initials="KK" lastIdx="85" clrIdx="0">
    <p:extLst>
      <p:ext uri="{19B8F6BF-5375-455C-9EA6-DF929625EA0E}">
        <p15:presenceInfo xmlns:p15="http://schemas.microsoft.com/office/powerpoint/2012/main" userId="S::kelly.kravitz@tea.texas.gov::d2ec9d74-de30-4424-8467-61dfa2e076f5" providerId="AD"/>
      </p:ext>
    </p:extLst>
  </p:cmAuthor>
  <p:cmAuthor id="8" name="Porter, Justin" initials="PJ" lastIdx="6" clrIdx="7">
    <p:extLst>
      <p:ext uri="{19B8F6BF-5375-455C-9EA6-DF929625EA0E}">
        <p15:presenceInfo xmlns:p15="http://schemas.microsoft.com/office/powerpoint/2012/main" userId="S::Justin.Porter@tea.texas.gov::ca7a5a55-e95a-4008-a2ec-e091953810ce" providerId="AD"/>
      </p:ext>
    </p:extLst>
  </p:cmAuthor>
  <p:cmAuthor id="2" name="Lopez, Cal" initials="LC" lastIdx="4" clrIdx="1">
    <p:extLst>
      <p:ext uri="{19B8F6BF-5375-455C-9EA6-DF929625EA0E}">
        <p15:presenceInfo xmlns:p15="http://schemas.microsoft.com/office/powerpoint/2012/main" userId="S::Cal.Lopez@tea.texas.gov::f2c780ee-e1ef-4e91-9db8-e2e54a2423b9" providerId="AD"/>
      </p:ext>
    </p:extLst>
  </p:cmAuthor>
  <p:cmAuthor id="3" name="Wayman, Julie" initials="WJ" lastIdx="3" clrIdx="2">
    <p:extLst>
      <p:ext uri="{19B8F6BF-5375-455C-9EA6-DF929625EA0E}">
        <p15:presenceInfo xmlns:p15="http://schemas.microsoft.com/office/powerpoint/2012/main" userId="S::Julie.Wayman@tea.texas.gov::cd07ec16-d1be-435d-9afd-d1f129b9560e" providerId="AD"/>
      </p:ext>
    </p:extLst>
  </p:cmAuthor>
  <p:cmAuthor id="4" name="Brown, Jordan" initials="BJ" lastIdx="72" clrIdx="3">
    <p:extLst>
      <p:ext uri="{19B8F6BF-5375-455C-9EA6-DF929625EA0E}">
        <p15:presenceInfo xmlns:p15="http://schemas.microsoft.com/office/powerpoint/2012/main" userId="S::Jordan.Brown@tea.texas.gov::28e75e5a-eaee-4496-b242-32c3608910dc" providerId="AD"/>
      </p:ext>
    </p:extLst>
  </p:cmAuthor>
  <p:cmAuthor id="5" name="Gangopadhyay, Niloy" initials="GN" lastIdx="10" clrIdx="4">
    <p:extLst>
      <p:ext uri="{19B8F6BF-5375-455C-9EA6-DF929625EA0E}">
        <p15:presenceInfo xmlns:p15="http://schemas.microsoft.com/office/powerpoint/2012/main" userId="S::niloy.gangopadhyay@tea.texas.gov::2ac63da1-3331-4631-ad93-8dfcfc72ee45" providerId="AD"/>
      </p:ext>
    </p:extLst>
  </p:cmAuthor>
  <p:cmAuthor id="6" name="Sykes, Rohanna" initials="SR" lastIdx="1" clrIdx="5">
    <p:extLst>
      <p:ext uri="{19B8F6BF-5375-455C-9EA6-DF929625EA0E}">
        <p15:presenceInfo xmlns:p15="http://schemas.microsoft.com/office/powerpoint/2012/main" userId="S::rohanna.sykes@tea.texas.gov::b059ce73-6199-4008-a9cd-febad2646ac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0B8"/>
    <a:srgbClr val="D8CBD8"/>
    <a:srgbClr val="D5C5AC"/>
    <a:srgbClr val="B1D1D3"/>
    <a:srgbClr val="B6C1D5"/>
    <a:srgbClr val="ECABAF"/>
    <a:srgbClr val="006600"/>
    <a:srgbClr val="FF3300"/>
    <a:srgbClr val="FF6D09"/>
    <a:srgbClr val="FF83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BA958C-599A-452A-A037-577BA7D7A81F}" v="33" dt="2023-03-20T22:28:35.0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57" autoAdjust="0"/>
    <p:restoredTop sz="86467" autoAdjust="0"/>
  </p:normalViewPr>
  <p:slideViewPr>
    <p:cSldViewPr snapToGrid="0">
      <p:cViewPr varScale="1">
        <p:scale>
          <a:sx n="79" d="100"/>
          <a:sy n="79" d="100"/>
        </p:scale>
        <p:origin x="126" y="396"/>
      </p:cViewPr>
      <p:guideLst/>
    </p:cSldViewPr>
  </p:slideViewPr>
  <p:outlineViewPr>
    <p:cViewPr>
      <p:scale>
        <a:sx n="33" d="100"/>
        <a:sy n="33" d="100"/>
      </p:scale>
      <p:origin x="0" y="-2442"/>
    </p:cViewPr>
  </p:outlin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handoutMaster" Target="handoutMasters/handout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ffoletto, Jamie" userId="daf1e3c6-8137-448a-b141-d23049d419b5" providerId="ADAL" clId="{25BA958C-599A-452A-A037-577BA7D7A81F}"/>
    <pc:docChg chg="custSel modSld">
      <pc:chgData name="Muffoletto, Jamie" userId="daf1e3c6-8137-448a-b141-d23049d419b5" providerId="ADAL" clId="{25BA958C-599A-452A-A037-577BA7D7A81F}" dt="2023-03-20T22:28:35.062" v="76" actId="962"/>
      <pc:docMkLst>
        <pc:docMk/>
      </pc:docMkLst>
      <pc:sldChg chg="delSp modSp mod">
        <pc:chgData name="Muffoletto, Jamie" userId="daf1e3c6-8137-448a-b141-d23049d419b5" providerId="ADAL" clId="{25BA958C-599A-452A-A037-577BA7D7A81F}" dt="2023-03-20T22:27:25.432" v="45" actId="33553"/>
        <pc:sldMkLst>
          <pc:docMk/>
          <pc:sldMk cId="1613773627" sldId="318"/>
        </pc:sldMkLst>
        <pc:spChg chg="ord">
          <ac:chgData name="Muffoletto, Jamie" userId="daf1e3c6-8137-448a-b141-d23049d419b5" providerId="ADAL" clId="{25BA958C-599A-452A-A037-577BA7D7A81F}" dt="2023-03-20T22:26:36.635" v="39" actId="13244"/>
          <ac:spMkLst>
            <pc:docMk/>
            <pc:sldMk cId="1613773627" sldId="318"/>
            <ac:spMk id="3" creationId="{00000000-0000-0000-0000-000000000000}"/>
          </ac:spMkLst>
        </pc:spChg>
        <pc:spChg chg="ord">
          <ac:chgData name="Muffoletto, Jamie" userId="daf1e3c6-8137-448a-b141-d23049d419b5" providerId="ADAL" clId="{25BA958C-599A-452A-A037-577BA7D7A81F}" dt="2023-03-20T22:26:39.902" v="40" actId="13244"/>
          <ac:spMkLst>
            <pc:docMk/>
            <pc:sldMk cId="1613773627" sldId="318"/>
            <ac:spMk id="4" creationId="{00000000-0000-0000-0000-000000000000}"/>
          </ac:spMkLst>
        </pc:spChg>
        <pc:spChg chg="del mod modVis">
          <ac:chgData name="Muffoletto, Jamie" userId="daf1e3c6-8137-448a-b141-d23049d419b5" providerId="ADAL" clId="{25BA958C-599A-452A-A037-577BA7D7A81F}" dt="2023-03-20T22:26:26.672" v="37" actId="478"/>
          <ac:spMkLst>
            <pc:docMk/>
            <pc:sldMk cId="1613773627" sldId="318"/>
            <ac:spMk id="10" creationId="{C9AC746B-EEE5-481A-83F8-7059DBE2A0A0}"/>
          </ac:spMkLst>
        </pc:spChg>
        <pc:spChg chg="ord">
          <ac:chgData name="Muffoletto, Jamie" userId="daf1e3c6-8137-448a-b141-d23049d419b5" providerId="ADAL" clId="{25BA958C-599A-452A-A037-577BA7D7A81F}" dt="2023-03-20T22:26:53.568" v="42" actId="13244"/>
          <ac:spMkLst>
            <pc:docMk/>
            <pc:sldMk cId="1613773627" sldId="318"/>
            <ac:spMk id="11" creationId="{CDB2E829-86A8-4D31-AD21-0C25D6AAF448}"/>
          </ac:spMkLst>
        </pc:spChg>
        <pc:spChg chg="ord">
          <ac:chgData name="Muffoletto, Jamie" userId="daf1e3c6-8137-448a-b141-d23049d419b5" providerId="ADAL" clId="{25BA958C-599A-452A-A037-577BA7D7A81F}" dt="2023-03-20T22:27:04.708" v="44" actId="13244"/>
          <ac:spMkLst>
            <pc:docMk/>
            <pc:sldMk cId="1613773627" sldId="318"/>
            <ac:spMk id="13" creationId="{5DC0B23D-AF32-430C-8224-A5EFA8FD0107}"/>
          </ac:spMkLst>
        </pc:spChg>
        <pc:spChg chg="mod ord">
          <ac:chgData name="Muffoletto, Jamie" userId="daf1e3c6-8137-448a-b141-d23049d419b5" providerId="ADAL" clId="{25BA958C-599A-452A-A037-577BA7D7A81F}" dt="2023-03-20T22:27:25.432" v="45" actId="33553"/>
          <ac:spMkLst>
            <pc:docMk/>
            <pc:sldMk cId="1613773627" sldId="318"/>
            <ac:spMk id="14" creationId="{00000000-0000-0000-0000-000000000000}"/>
          </ac:spMkLst>
        </pc:spChg>
        <pc:picChg chg="ord">
          <ac:chgData name="Muffoletto, Jamie" userId="daf1e3c6-8137-448a-b141-d23049d419b5" providerId="ADAL" clId="{25BA958C-599A-452A-A037-577BA7D7A81F}" dt="2023-03-20T22:27:01.704" v="43" actId="13244"/>
          <ac:picMkLst>
            <pc:docMk/>
            <pc:sldMk cId="1613773627" sldId="318"/>
            <ac:picMk id="6" creationId="{FCFE47E7-FE71-4B62-9328-33FFCA2DF92F}"/>
          </ac:picMkLst>
        </pc:picChg>
        <pc:picChg chg="ord">
          <ac:chgData name="Muffoletto, Jamie" userId="daf1e3c6-8137-448a-b141-d23049d419b5" providerId="ADAL" clId="{25BA958C-599A-452A-A037-577BA7D7A81F}" dt="2023-03-20T22:26:45.493" v="41" actId="13244"/>
          <ac:picMkLst>
            <pc:docMk/>
            <pc:sldMk cId="1613773627" sldId="318"/>
            <ac:picMk id="12" creationId="{0AAFEE74-D354-43B2-9F08-9F516C6D43D5}"/>
          </ac:picMkLst>
        </pc:picChg>
      </pc:sldChg>
      <pc:sldChg chg="delSp modSp mod">
        <pc:chgData name="Muffoletto, Jamie" userId="daf1e3c6-8137-448a-b141-d23049d419b5" providerId="ADAL" clId="{25BA958C-599A-452A-A037-577BA7D7A81F}" dt="2023-03-20T22:26:05.467" v="26" actId="13244"/>
        <pc:sldMkLst>
          <pc:docMk/>
          <pc:sldMk cId="1645687539" sldId="324"/>
        </pc:sldMkLst>
        <pc:spChg chg="ord">
          <ac:chgData name="Muffoletto, Jamie" userId="daf1e3c6-8137-448a-b141-d23049d419b5" providerId="ADAL" clId="{25BA958C-599A-452A-A037-577BA7D7A81F}" dt="2023-03-20T22:23:56.093" v="12" actId="13244"/>
          <ac:spMkLst>
            <pc:docMk/>
            <pc:sldMk cId="1645687539" sldId="324"/>
            <ac:spMk id="3" creationId="{00000000-0000-0000-0000-000000000000}"/>
          </ac:spMkLst>
        </pc:spChg>
        <pc:spChg chg="ord">
          <ac:chgData name="Muffoletto, Jamie" userId="daf1e3c6-8137-448a-b141-d23049d419b5" providerId="ADAL" clId="{25BA958C-599A-452A-A037-577BA7D7A81F}" dt="2023-03-20T22:26:05.467" v="26" actId="13244"/>
          <ac:spMkLst>
            <pc:docMk/>
            <pc:sldMk cId="1645687539" sldId="324"/>
            <ac:spMk id="4" creationId="{00000000-0000-0000-0000-000000000000}"/>
          </ac:spMkLst>
        </pc:spChg>
        <pc:spChg chg="ord">
          <ac:chgData name="Muffoletto, Jamie" userId="daf1e3c6-8137-448a-b141-d23049d419b5" providerId="ADAL" clId="{25BA958C-599A-452A-A037-577BA7D7A81F}" dt="2023-03-20T22:24:09.043" v="15" actId="13244"/>
          <ac:spMkLst>
            <pc:docMk/>
            <pc:sldMk cId="1645687539" sldId="324"/>
            <ac:spMk id="13" creationId="{CFAE4BE4-CB99-4DD0-A684-C0667523C951}"/>
          </ac:spMkLst>
        </pc:spChg>
        <pc:spChg chg="del ord">
          <ac:chgData name="Muffoletto, Jamie" userId="daf1e3c6-8137-448a-b141-d23049d419b5" providerId="ADAL" clId="{25BA958C-599A-452A-A037-577BA7D7A81F}" dt="2023-03-20T22:25:39.004" v="23" actId="478"/>
          <ac:spMkLst>
            <pc:docMk/>
            <pc:sldMk cId="1645687539" sldId="324"/>
            <ac:spMk id="15" creationId="{B9D4CCB5-E739-479E-B2A5-35F3A921A84A}"/>
          </ac:spMkLst>
        </pc:spChg>
        <pc:grpChg chg="mod">
          <ac:chgData name="Muffoletto, Jamie" userId="daf1e3c6-8137-448a-b141-d23049d419b5" providerId="ADAL" clId="{25BA958C-599A-452A-A037-577BA7D7A81F}" dt="2023-03-20T22:24:47.635" v="18" actId="1076"/>
          <ac:grpSpMkLst>
            <pc:docMk/>
            <pc:sldMk cId="1645687539" sldId="324"/>
            <ac:grpSpMk id="8" creationId="{FA209864-B2EE-458D-862C-58ABDFFBC3AB}"/>
          </ac:grpSpMkLst>
        </pc:grpChg>
        <pc:picChg chg="mod ord">
          <ac:chgData name="Muffoletto, Jamie" userId="daf1e3c6-8137-448a-b141-d23049d419b5" providerId="ADAL" clId="{25BA958C-599A-452A-A037-577BA7D7A81F}" dt="2023-03-20T22:25:52.136" v="24" actId="962"/>
          <ac:picMkLst>
            <pc:docMk/>
            <pc:sldMk cId="1645687539" sldId="324"/>
            <ac:picMk id="11" creationId="{075C72DC-C363-4AE7-B7FD-BB584FF55347}"/>
          </ac:picMkLst>
        </pc:picChg>
        <pc:picChg chg="mod ord">
          <ac:chgData name="Muffoletto, Jamie" userId="daf1e3c6-8137-448a-b141-d23049d419b5" providerId="ADAL" clId="{25BA958C-599A-452A-A037-577BA7D7A81F}" dt="2023-03-20T22:25:59.727" v="25" actId="962"/>
          <ac:picMkLst>
            <pc:docMk/>
            <pc:sldMk cId="1645687539" sldId="324"/>
            <ac:picMk id="17" creationId="{64C9AD0E-8951-4CF7-A725-2AE889879822}"/>
          </ac:picMkLst>
        </pc:picChg>
      </pc:sldChg>
      <pc:sldChg chg="modSp mod">
        <pc:chgData name="Muffoletto, Jamie" userId="daf1e3c6-8137-448a-b141-d23049d419b5" providerId="ADAL" clId="{25BA958C-599A-452A-A037-577BA7D7A81F}" dt="2023-03-20T22:28:35.062" v="76" actId="962"/>
        <pc:sldMkLst>
          <pc:docMk/>
          <pc:sldMk cId="2253469277" sldId="524"/>
        </pc:sldMkLst>
        <pc:picChg chg="mod ord">
          <ac:chgData name="Muffoletto, Jamie" userId="daf1e3c6-8137-448a-b141-d23049d419b5" providerId="ADAL" clId="{25BA958C-599A-452A-A037-577BA7D7A81F}" dt="2023-03-20T22:28:35.062" v="76" actId="962"/>
          <ac:picMkLst>
            <pc:docMk/>
            <pc:sldMk cId="2253469277" sldId="524"/>
            <ac:picMk id="12" creationId="{DF028E11-1886-4775-32FE-1AD9166C8427}"/>
          </ac:picMkLst>
        </pc:picChg>
      </pc:sldChg>
      <pc:sldChg chg="modSp">
        <pc:chgData name="Muffoletto, Jamie" userId="daf1e3c6-8137-448a-b141-d23049d419b5" providerId="ADAL" clId="{25BA958C-599A-452A-A037-577BA7D7A81F}" dt="2023-03-20T22:28:20.340" v="48" actId="1076"/>
        <pc:sldMkLst>
          <pc:docMk/>
          <pc:sldMk cId="49511753" sldId="2420"/>
        </pc:sldMkLst>
        <pc:spChg chg="mod">
          <ac:chgData name="Muffoletto, Jamie" userId="daf1e3c6-8137-448a-b141-d23049d419b5" providerId="ADAL" clId="{25BA958C-599A-452A-A037-577BA7D7A81F}" dt="2023-03-20T22:28:20.340" v="48" actId="1076"/>
          <ac:spMkLst>
            <pc:docMk/>
            <pc:sldMk cId="49511753" sldId="2420"/>
            <ac:spMk id="3" creationId="{AF990448-DC4F-41E1-9C78-E8B016C4035A}"/>
          </ac:spMkLst>
        </pc:spChg>
      </pc:sldChg>
      <pc:sldChg chg="modSp mod">
        <pc:chgData name="Muffoletto, Jamie" userId="daf1e3c6-8137-448a-b141-d23049d419b5" providerId="ADAL" clId="{25BA958C-599A-452A-A037-577BA7D7A81F}" dt="2023-03-20T22:23:45.242" v="11" actId="13244"/>
        <pc:sldMkLst>
          <pc:docMk/>
          <pc:sldMk cId="3642742627" sldId="2689"/>
        </pc:sldMkLst>
        <pc:spChg chg="ord">
          <ac:chgData name="Muffoletto, Jamie" userId="daf1e3c6-8137-448a-b141-d23049d419b5" providerId="ADAL" clId="{25BA958C-599A-452A-A037-577BA7D7A81F}" dt="2023-03-20T22:23:33.971" v="9" actId="13244"/>
          <ac:spMkLst>
            <pc:docMk/>
            <pc:sldMk cId="3642742627" sldId="2689"/>
            <ac:spMk id="2" creationId="{F578DACC-A297-97AE-837B-138D974556E4}"/>
          </ac:spMkLst>
        </pc:spChg>
        <pc:spChg chg="ord">
          <ac:chgData name="Muffoletto, Jamie" userId="daf1e3c6-8137-448a-b141-d23049d419b5" providerId="ADAL" clId="{25BA958C-599A-452A-A037-577BA7D7A81F}" dt="2023-03-20T22:23:40.421" v="10" actId="13244"/>
          <ac:spMkLst>
            <pc:docMk/>
            <pc:sldMk cId="3642742627" sldId="2689"/>
            <ac:spMk id="6" creationId="{1FBAB2AC-6B2A-4D43-883D-3C24B93B99F2}"/>
          </ac:spMkLst>
        </pc:spChg>
        <pc:picChg chg="ord">
          <ac:chgData name="Muffoletto, Jamie" userId="daf1e3c6-8137-448a-b141-d23049d419b5" providerId="ADAL" clId="{25BA958C-599A-452A-A037-577BA7D7A81F}" dt="2023-03-20T22:23:45.242" v="11" actId="13244"/>
          <ac:picMkLst>
            <pc:docMk/>
            <pc:sldMk cId="3642742627" sldId="2689"/>
            <ac:picMk id="9" creationId="{41D4856B-6EA4-4EA3-A3DD-89925D2C7ABD}"/>
          </ac:picMkLst>
        </pc:picChg>
      </pc:sldChg>
      <pc:sldChg chg="modSp mod">
        <pc:chgData name="Muffoletto, Jamie" userId="daf1e3c6-8137-448a-b141-d23049d419b5" providerId="ADAL" clId="{25BA958C-599A-452A-A037-577BA7D7A81F}" dt="2023-03-20T22:21:53.887" v="1" actId="962"/>
        <pc:sldMkLst>
          <pc:docMk/>
          <pc:sldMk cId="830699131" sldId="2936"/>
        </pc:sldMkLst>
        <pc:spChg chg="mod">
          <ac:chgData name="Muffoletto, Jamie" userId="daf1e3c6-8137-448a-b141-d23049d419b5" providerId="ADAL" clId="{25BA958C-599A-452A-A037-577BA7D7A81F}" dt="2023-03-20T22:21:53.887" v="1" actId="962"/>
          <ac:spMkLst>
            <pc:docMk/>
            <pc:sldMk cId="830699131" sldId="2936"/>
            <ac:spMk id="2" creationId="{684DFD6B-F93A-EF9A-9EFB-99293FE36254}"/>
          </ac:spMkLst>
        </pc:spChg>
      </pc:sldChg>
      <pc:sldChg chg="modSp mod">
        <pc:chgData name="Muffoletto, Jamie" userId="daf1e3c6-8137-448a-b141-d23049d419b5" providerId="ADAL" clId="{25BA958C-599A-452A-A037-577BA7D7A81F}" dt="2023-03-20T22:21:57.252" v="2" actId="962"/>
        <pc:sldMkLst>
          <pc:docMk/>
          <pc:sldMk cId="2059779983" sldId="2937"/>
        </pc:sldMkLst>
        <pc:spChg chg="mod">
          <ac:chgData name="Muffoletto, Jamie" userId="daf1e3c6-8137-448a-b141-d23049d419b5" providerId="ADAL" clId="{25BA958C-599A-452A-A037-577BA7D7A81F}" dt="2023-03-20T22:21:57.252" v="2" actId="962"/>
          <ac:spMkLst>
            <pc:docMk/>
            <pc:sldMk cId="2059779983" sldId="2937"/>
            <ac:spMk id="2" creationId="{FFA890DA-6BCB-DE92-5C97-711D6CA33B88}"/>
          </ac:spMkLst>
        </pc:spChg>
      </pc:sldChg>
      <pc:sldChg chg="modSp mod">
        <pc:chgData name="Muffoletto, Jamie" userId="daf1e3c6-8137-448a-b141-d23049d419b5" providerId="ADAL" clId="{25BA958C-599A-452A-A037-577BA7D7A81F}" dt="2023-03-20T22:23:14.602" v="8" actId="13244"/>
        <pc:sldMkLst>
          <pc:docMk/>
          <pc:sldMk cId="2378892447" sldId="3184"/>
        </pc:sldMkLst>
        <pc:spChg chg="mod">
          <ac:chgData name="Muffoletto, Jamie" userId="daf1e3c6-8137-448a-b141-d23049d419b5" providerId="ADAL" clId="{25BA958C-599A-452A-A037-577BA7D7A81F}" dt="2023-03-20T22:22:19.963" v="5" actId="962"/>
          <ac:spMkLst>
            <pc:docMk/>
            <pc:sldMk cId="2378892447" sldId="3184"/>
            <ac:spMk id="6" creationId="{BB9283E0-4D04-76EA-0F06-3AF472E53B68}"/>
          </ac:spMkLst>
        </pc:spChg>
        <pc:spChg chg="ord">
          <ac:chgData name="Muffoletto, Jamie" userId="daf1e3c6-8137-448a-b141-d23049d419b5" providerId="ADAL" clId="{25BA958C-599A-452A-A037-577BA7D7A81F}" dt="2023-03-20T22:23:14.602" v="8" actId="13244"/>
          <ac:spMkLst>
            <pc:docMk/>
            <pc:sldMk cId="2378892447" sldId="3184"/>
            <ac:spMk id="15" creationId="{D7035641-0A19-72CD-D7BC-57BCB99B1000}"/>
          </ac:spMkLst>
        </pc:spChg>
      </pc:sldChg>
      <pc:sldChg chg="modSp mod">
        <pc:chgData name="Muffoletto, Jamie" userId="daf1e3c6-8137-448a-b141-d23049d419b5" providerId="ADAL" clId="{25BA958C-599A-452A-A037-577BA7D7A81F}" dt="2023-03-20T22:22:03.308" v="3" actId="962"/>
        <pc:sldMkLst>
          <pc:docMk/>
          <pc:sldMk cId="2359749400" sldId="3300"/>
        </pc:sldMkLst>
        <pc:picChg chg="mod">
          <ac:chgData name="Muffoletto, Jamie" userId="daf1e3c6-8137-448a-b141-d23049d419b5" providerId="ADAL" clId="{25BA958C-599A-452A-A037-577BA7D7A81F}" dt="2023-03-20T22:22:03.308" v="3" actId="962"/>
          <ac:picMkLst>
            <pc:docMk/>
            <pc:sldMk cId="2359749400" sldId="3300"/>
            <ac:picMk id="10" creationId="{C0D7B9C7-AFFC-1A53-2C4A-7168D27B033A}"/>
          </ac:picMkLst>
        </pc:picChg>
      </pc:sldChg>
      <pc:sldChg chg="modSp">
        <pc:chgData name="Muffoletto, Jamie" userId="daf1e3c6-8137-448a-b141-d23049d419b5" providerId="ADAL" clId="{25BA958C-599A-452A-A037-577BA7D7A81F}" dt="2023-03-20T22:21:49.798" v="0" actId="962"/>
        <pc:sldMkLst>
          <pc:docMk/>
          <pc:sldMk cId="4001621071" sldId="3327"/>
        </pc:sldMkLst>
        <pc:graphicFrameChg chg="mod">
          <ac:chgData name="Muffoletto, Jamie" userId="daf1e3c6-8137-448a-b141-d23049d419b5" providerId="ADAL" clId="{25BA958C-599A-452A-A037-577BA7D7A81F}" dt="2023-03-20T22:21:49.798" v="0" actId="962"/>
          <ac:graphicFrameMkLst>
            <pc:docMk/>
            <pc:sldMk cId="4001621071" sldId="3327"/>
            <ac:graphicFrameMk id="9" creationId="{735EB50E-8040-3C7E-E6E1-C63AEC68EFAA}"/>
          </ac:graphicFrameMkLst>
        </pc:graphicFrameChg>
      </pc:sldChg>
      <pc:sldChg chg="modSp mod">
        <pc:chgData name="Muffoletto, Jamie" userId="daf1e3c6-8137-448a-b141-d23049d419b5" providerId="ADAL" clId="{25BA958C-599A-452A-A037-577BA7D7A81F}" dt="2023-03-20T22:22:52.764" v="7" actId="13244"/>
        <pc:sldMkLst>
          <pc:docMk/>
          <pc:sldMk cId="3668828583" sldId="3348"/>
        </pc:sldMkLst>
        <pc:spChg chg="ord">
          <ac:chgData name="Muffoletto, Jamie" userId="daf1e3c6-8137-448a-b141-d23049d419b5" providerId="ADAL" clId="{25BA958C-599A-452A-A037-577BA7D7A81F}" dt="2023-03-20T22:22:52.764" v="7" actId="13244"/>
          <ac:spMkLst>
            <pc:docMk/>
            <pc:sldMk cId="3668828583" sldId="3348"/>
            <ac:spMk id="7" creationId="{E563E3A5-EEE1-D5BD-C44A-6DCE0B39EAC0}"/>
          </ac:spMkLst>
        </pc:spChg>
      </pc:sldChg>
      <pc:sldChg chg="modSp">
        <pc:chgData name="Muffoletto, Jamie" userId="daf1e3c6-8137-448a-b141-d23049d419b5" providerId="ADAL" clId="{25BA958C-599A-452A-A037-577BA7D7A81F}" dt="2023-03-20T22:22:07.830" v="4" actId="962"/>
        <pc:sldMkLst>
          <pc:docMk/>
          <pc:sldMk cId="2032425744" sldId="3362"/>
        </pc:sldMkLst>
        <pc:graphicFrameChg chg="mod">
          <ac:chgData name="Muffoletto, Jamie" userId="daf1e3c6-8137-448a-b141-d23049d419b5" providerId="ADAL" clId="{25BA958C-599A-452A-A037-577BA7D7A81F}" dt="2023-03-20T22:22:07.830" v="4" actId="962"/>
          <ac:graphicFrameMkLst>
            <pc:docMk/>
            <pc:sldMk cId="2032425744" sldId="3362"/>
            <ac:graphicFrameMk id="14" creationId="{8812C528-156C-218F-9852-44E3048A77BE}"/>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08949340276239"/>
          <c:y val="0.12937125807931832"/>
          <c:w val="0.37906159612303802"/>
          <c:h val="0.80146234347810696"/>
        </c:manualLayout>
      </c:layout>
      <c:barChart>
        <c:barDir val="bar"/>
        <c:grouping val="clustered"/>
        <c:varyColors val="0"/>
        <c:ser>
          <c:idx val="0"/>
          <c:order val="0"/>
          <c:tx>
            <c:strRef>
              <c:f>Sheet1!$B$1</c:f>
              <c:strCache>
                <c:ptCount val="1"/>
                <c:pt idx="0">
                  <c:v>Column1</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Pt>
            <c:idx val="0"/>
            <c:invertIfNegative val="0"/>
            <c:bubble3D val="0"/>
            <c:spPr>
              <a:solidFill>
                <a:srgbClr val="006600"/>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BC00-48DA-B086-1FD35C6A8B61}"/>
              </c:ext>
            </c:extLst>
          </c:dPt>
          <c:dPt>
            <c:idx val="1"/>
            <c:invertIfNegative val="0"/>
            <c:bubble3D val="0"/>
            <c:spPr>
              <a:solidFill>
                <a:schemeClr val="accent1"/>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BC00-48DA-B086-1FD35C6A8B61}"/>
              </c:ext>
            </c:extLst>
          </c:dPt>
          <c:dPt>
            <c:idx val="2"/>
            <c:invertIfNegative val="0"/>
            <c:bubble3D val="0"/>
            <c:spPr>
              <a:solidFill>
                <a:schemeClr val="accent4"/>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BC00-48DA-B086-1FD35C6A8B61}"/>
              </c:ext>
            </c:extLst>
          </c:dPt>
          <c:dLbls>
            <c:dLbl>
              <c:idx val="0"/>
              <c:tx>
                <c:rich>
                  <a:bodyPr/>
                  <a:lstStyle/>
                  <a:p>
                    <a:fld id="{90893594-F385-4BEB-9594-BD9891A336CF}" type="VALUE">
                      <a:rPr lang="en-US"/>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C00-48DA-B086-1FD35C6A8B61}"/>
                </c:ext>
              </c:extLst>
            </c:dLbl>
            <c:dLbl>
              <c:idx val="1"/>
              <c:tx>
                <c:rich>
                  <a:bodyPr/>
                  <a:lstStyle/>
                  <a:p>
                    <a:fld id="{A14D6ECA-7E56-4950-8F34-5B27960D73A3}" type="VALUE">
                      <a:rPr lang="en-US"/>
                      <a:pPr/>
                      <a:t>[VALUE]</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C00-48DA-B086-1FD35C6A8B61}"/>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21-2022</c:v>
                </c:pt>
                <c:pt idx="1">
                  <c:v>2020-2021</c:v>
                </c:pt>
                <c:pt idx="2">
                  <c:v>2019-2020 </c:v>
                </c:pt>
              </c:strCache>
            </c:strRef>
          </c:cat>
          <c:val>
            <c:numRef>
              <c:f>Sheet1!$B$2:$B$4</c:f>
              <c:numCache>
                <c:formatCode>#,##0</c:formatCode>
                <c:ptCount val="3"/>
                <c:pt idx="0">
                  <c:v>97279</c:v>
                </c:pt>
                <c:pt idx="1">
                  <c:v>93096</c:v>
                </c:pt>
                <c:pt idx="2">
                  <c:v>111401</c:v>
                </c:pt>
              </c:numCache>
            </c:numRef>
          </c:val>
          <c:extLst>
            <c:ext xmlns:c16="http://schemas.microsoft.com/office/drawing/2014/chart" uri="{C3380CC4-5D6E-409C-BE32-E72D297353CC}">
              <c16:uniqueId val="{00000008-BC00-48DA-B086-1FD35C6A8B61}"/>
            </c:ext>
          </c:extLst>
        </c:ser>
        <c:dLbls>
          <c:dLblPos val="inEnd"/>
          <c:showLegendKey val="0"/>
          <c:showVal val="1"/>
          <c:showCatName val="0"/>
          <c:showSerName val="0"/>
          <c:showPercent val="0"/>
          <c:showBubbleSize val="0"/>
        </c:dLbls>
        <c:gapWidth val="115"/>
        <c:overlap val="-20"/>
        <c:axId val="898227312"/>
        <c:axId val="898226984"/>
      </c:barChart>
      <c:valAx>
        <c:axId val="89822698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898227312"/>
        <c:crosses val="autoZero"/>
        <c:crossBetween val="between"/>
      </c:valAx>
      <c:catAx>
        <c:axId val="898227312"/>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2400" b="1" i="0" u="none" strike="noStrike" kern="1200" baseline="0">
                <a:solidFill>
                  <a:schemeClr val="tx1"/>
                </a:solidFill>
                <a:latin typeface="+mn-lt"/>
                <a:ea typeface="+mn-ea"/>
                <a:cs typeface="+mn-cs"/>
              </a:defRPr>
            </a:pPr>
            <a:endParaRPr lang="en-US"/>
          </a:p>
        </c:txPr>
        <c:crossAx val="8982269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9-2020</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oubled-up</c:v>
                </c:pt>
                <c:pt idx="1">
                  <c:v>Shelter</c:v>
                </c:pt>
                <c:pt idx="2">
                  <c:v>Hotel/Motel</c:v>
                </c:pt>
                <c:pt idx="3">
                  <c:v>Unsheltered</c:v>
                </c:pt>
              </c:strCache>
            </c:strRef>
          </c:cat>
          <c:val>
            <c:numRef>
              <c:f>Sheet1!$B$2:$B$5</c:f>
              <c:numCache>
                <c:formatCode>0%</c:formatCode>
                <c:ptCount val="4"/>
                <c:pt idx="0">
                  <c:v>0.77</c:v>
                </c:pt>
                <c:pt idx="1">
                  <c:v>0.09</c:v>
                </c:pt>
                <c:pt idx="2">
                  <c:v>7.0000000000000007E-2</c:v>
                </c:pt>
                <c:pt idx="3">
                  <c:v>7.0000000000000007E-2</c:v>
                </c:pt>
              </c:numCache>
            </c:numRef>
          </c:val>
          <c:extLst>
            <c:ext xmlns:c16="http://schemas.microsoft.com/office/drawing/2014/chart" uri="{C3380CC4-5D6E-409C-BE32-E72D297353CC}">
              <c16:uniqueId val="{00000000-7B8B-4339-859C-93B5533FE44F}"/>
            </c:ext>
          </c:extLst>
        </c:ser>
        <c:ser>
          <c:idx val="1"/>
          <c:order val="1"/>
          <c:tx>
            <c:strRef>
              <c:f>Sheet1!$C$1</c:f>
              <c:strCache>
                <c:ptCount val="1"/>
                <c:pt idx="0">
                  <c:v>2020-202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oubled-up</c:v>
                </c:pt>
                <c:pt idx="1">
                  <c:v>Shelter</c:v>
                </c:pt>
                <c:pt idx="2">
                  <c:v>Hotel/Motel</c:v>
                </c:pt>
                <c:pt idx="3">
                  <c:v>Unsheltered</c:v>
                </c:pt>
              </c:strCache>
            </c:strRef>
          </c:cat>
          <c:val>
            <c:numRef>
              <c:f>Sheet1!$C$2:$C$5</c:f>
              <c:numCache>
                <c:formatCode>0%</c:formatCode>
                <c:ptCount val="4"/>
                <c:pt idx="0">
                  <c:v>0.75</c:v>
                </c:pt>
                <c:pt idx="1">
                  <c:v>0.09</c:v>
                </c:pt>
                <c:pt idx="2">
                  <c:v>0.08</c:v>
                </c:pt>
                <c:pt idx="3">
                  <c:v>0.08</c:v>
                </c:pt>
              </c:numCache>
            </c:numRef>
          </c:val>
          <c:extLst>
            <c:ext xmlns:c16="http://schemas.microsoft.com/office/drawing/2014/chart" uri="{C3380CC4-5D6E-409C-BE32-E72D297353CC}">
              <c16:uniqueId val="{00000001-7B8B-4339-859C-93B5533FE44F}"/>
            </c:ext>
          </c:extLst>
        </c:ser>
        <c:ser>
          <c:idx val="2"/>
          <c:order val="2"/>
          <c:tx>
            <c:strRef>
              <c:f>Sheet1!$D$1</c:f>
              <c:strCache>
                <c:ptCount val="1"/>
                <c:pt idx="0">
                  <c:v>2021-2022</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oubled-up</c:v>
                </c:pt>
                <c:pt idx="1">
                  <c:v>Shelter</c:v>
                </c:pt>
                <c:pt idx="2">
                  <c:v>Hotel/Motel</c:v>
                </c:pt>
                <c:pt idx="3">
                  <c:v>Unsheltered</c:v>
                </c:pt>
              </c:strCache>
            </c:strRef>
          </c:cat>
          <c:val>
            <c:numRef>
              <c:f>Sheet1!$D$2:$D$5</c:f>
              <c:numCache>
                <c:formatCode>0%</c:formatCode>
                <c:ptCount val="4"/>
                <c:pt idx="0">
                  <c:v>0.77</c:v>
                </c:pt>
                <c:pt idx="1">
                  <c:v>0.09</c:v>
                </c:pt>
                <c:pt idx="2">
                  <c:v>0.09</c:v>
                </c:pt>
                <c:pt idx="3">
                  <c:v>0.05</c:v>
                </c:pt>
              </c:numCache>
            </c:numRef>
          </c:val>
          <c:extLst>
            <c:ext xmlns:c16="http://schemas.microsoft.com/office/drawing/2014/chart" uri="{C3380CC4-5D6E-409C-BE32-E72D297353CC}">
              <c16:uniqueId val="{00000002-7B8B-4339-859C-93B5533FE44F}"/>
            </c:ext>
          </c:extLst>
        </c:ser>
        <c:dLbls>
          <c:dLblPos val="outEnd"/>
          <c:showLegendKey val="0"/>
          <c:showVal val="1"/>
          <c:showCatName val="0"/>
          <c:showSerName val="0"/>
          <c:showPercent val="0"/>
          <c:showBubbleSize val="0"/>
        </c:dLbls>
        <c:gapWidth val="219"/>
        <c:overlap val="-27"/>
        <c:axId val="918254608"/>
        <c:axId val="918256904"/>
      </c:barChart>
      <c:catAx>
        <c:axId val="918254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18256904"/>
        <c:crosses val="autoZero"/>
        <c:auto val="1"/>
        <c:lblAlgn val="ctr"/>
        <c:lblOffset val="100"/>
        <c:noMultiLvlLbl val="0"/>
      </c:catAx>
      <c:valAx>
        <c:axId val="9182569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18254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hyperlink" Target="mailto:Jordan.brown@tea.Texas.gov" TargetMode="External"/><Relationship Id="rId1" Type="http://schemas.openxmlformats.org/officeDocument/2006/relationships/hyperlink" Target="mailto:Kelly.kravitz@tea.texas.gov" TargetMode="External"/><Relationship Id="rId5" Type="http://schemas.openxmlformats.org/officeDocument/2006/relationships/image" Target="../media/image62.jpeg"/><Relationship Id="rId4" Type="http://schemas.openxmlformats.org/officeDocument/2006/relationships/image" Target="cid:e660a798-140b-4ac1-945d-bc50bbb226e5@namprd22.prod.outlook.com" TargetMode="External"/></Relationships>
</file>

<file path=ppt/diagrams/_rels/data7.xml.rels><?xml version="1.0" encoding="UTF-8" standalone="yes"?>
<Relationships xmlns="http://schemas.openxmlformats.org/package/2006/relationships"><Relationship Id="rId8" Type="http://schemas.openxmlformats.org/officeDocument/2006/relationships/hyperlink" Target="mailto:homelesseducation@tea.texas.gov" TargetMode="External"/><Relationship Id="rId3" Type="http://schemas.openxmlformats.org/officeDocument/2006/relationships/hyperlink" Target="https://tea.texas.gov/Texas_Schools/Support_for_At-Risk_Schools_and_Students/Texas_Education_for_Homeless_Children_and_Youth_(TEHCY)_Program/" TargetMode="External"/><Relationship Id="rId7" Type="http://schemas.openxmlformats.org/officeDocument/2006/relationships/hyperlink" Target="mailto:fostercareliaison@tea.texas.gov" TargetMode="External"/><Relationship Id="rId2" Type="http://schemas.openxmlformats.org/officeDocument/2006/relationships/hyperlink" Target="https://tea.texas.gov/texas_schools/safe_and_healthy_schools/pregnancy_related_services/" TargetMode="External"/><Relationship Id="rId1" Type="http://schemas.openxmlformats.org/officeDocument/2006/relationships/hyperlink" Target="https://tea.texas.gov/About_TEA/Other_Services/Military_Family_Resources/" TargetMode="External"/><Relationship Id="rId6" Type="http://schemas.openxmlformats.org/officeDocument/2006/relationships/hyperlink" Target="mailto:pregnancyrelatedservices@tea.texas.gov" TargetMode="External"/><Relationship Id="rId5" Type="http://schemas.openxmlformats.org/officeDocument/2006/relationships/hyperlink" Target="https://tea.texas.gov/fostercarestudentsuccess/" TargetMode="External"/><Relationship Id="rId10" Type="http://schemas.openxmlformats.org/officeDocument/2006/relationships/hyperlink" Target="mailto:militaryconnectedstudents@tea.texas.gov" TargetMode="External"/><Relationship Id="rId4" Type="http://schemas.openxmlformats.org/officeDocument/2006/relationships/hyperlink" Target="https://tea.texas.gov/Texas_Schools/Safe_and_Healthy_Schools/Child_Abuse_Prevention/Child_Abuse_Prevention_Overview/" TargetMode="External"/><Relationship Id="rId9" Type="http://schemas.openxmlformats.org/officeDocument/2006/relationships/hyperlink" Target="mailto:preventinghumantrafficking@tea.texas.gov" TargetMode="External"/></Relationships>
</file>

<file path=ppt/diagrams/_rels/drawing1.xml.rels><?xml version="1.0" encoding="UTF-8" standalone="yes"?>
<Relationships xmlns="http://schemas.openxmlformats.org/package/2006/relationships"><Relationship Id="rId3" Type="http://schemas.openxmlformats.org/officeDocument/2006/relationships/image" Target="cid:e660a798-140b-4ac1-945d-bc50bbb226e5@namprd22.prod.outlook.com" TargetMode="External"/><Relationship Id="rId2" Type="http://schemas.openxmlformats.org/officeDocument/2006/relationships/image" Target="../media/image61.jpeg"/><Relationship Id="rId1" Type="http://schemas.openxmlformats.org/officeDocument/2006/relationships/hyperlink" Target="mailto:Kelly.kravitz@tea.texas.gov" TargetMode="External"/><Relationship Id="rId5" Type="http://schemas.openxmlformats.org/officeDocument/2006/relationships/image" Target="../media/image62.jpeg"/><Relationship Id="rId4" Type="http://schemas.openxmlformats.org/officeDocument/2006/relationships/hyperlink" Target="mailto:Jordan.brown@tea.Texas.gov" TargetMode="External"/></Relationships>
</file>

<file path=ppt/diagrams/_rels/drawing7.xml.rels><?xml version="1.0" encoding="UTF-8" standalone="yes"?>
<Relationships xmlns="http://schemas.openxmlformats.org/package/2006/relationships"><Relationship Id="rId8" Type="http://schemas.openxmlformats.org/officeDocument/2006/relationships/hyperlink" Target="mailto:homelesseducation@tea.texas.gov" TargetMode="External"/><Relationship Id="rId3" Type="http://schemas.openxmlformats.org/officeDocument/2006/relationships/hyperlink" Target="https://tea.texas.gov/texas_schools/safe_and_healthy_schools/pregnancy_related_services/" TargetMode="External"/><Relationship Id="rId7" Type="http://schemas.openxmlformats.org/officeDocument/2006/relationships/hyperlink" Target="https://tea.texas.gov/Texas_Schools/Support_for_At-Risk_Schools_and_Students/Texas_Education_for_Homeless_Children_and_Youth_(TEHCY)_Program/" TargetMode="External"/><Relationship Id="rId2" Type="http://schemas.openxmlformats.org/officeDocument/2006/relationships/hyperlink" Target="mailto:militaryconnectedstudents@tea.texas.gov" TargetMode="External"/><Relationship Id="rId1" Type="http://schemas.openxmlformats.org/officeDocument/2006/relationships/hyperlink" Target="https://tea.texas.gov/About_TEA/Other_Services/Military_Family_Resources/" TargetMode="External"/><Relationship Id="rId6" Type="http://schemas.openxmlformats.org/officeDocument/2006/relationships/hyperlink" Target="mailto:fostercareliaison@tea.texas.gov" TargetMode="External"/><Relationship Id="rId5" Type="http://schemas.openxmlformats.org/officeDocument/2006/relationships/hyperlink" Target="https://tea.texas.gov/fostercarestudentsuccess/" TargetMode="External"/><Relationship Id="rId10" Type="http://schemas.openxmlformats.org/officeDocument/2006/relationships/hyperlink" Target="mailto:preventinghumantrafficking@tea.texas.gov" TargetMode="External"/><Relationship Id="rId4" Type="http://schemas.openxmlformats.org/officeDocument/2006/relationships/hyperlink" Target="mailto:pregnancyrelatedservices@tea.texas.gov" TargetMode="External"/><Relationship Id="rId9" Type="http://schemas.openxmlformats.org/officeDocument/2006/relationships/hyperlink" Target="https://tea.texas.gov/Texas_Schools/Safe_and_Healthy_Schools/Child_Abuse_Prevention/Child_Abuse_Prevention_Overview/"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89BA9D-1520-46DB-B3EB-A2A8CE366675}"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9175745E-2BAA-4698-95AD-E52B0804063E}">
      <dgm:prSet phldrT="[Text]" custT="1"/>
      <dgm:spPr/>
      <dgm:t>
        <a:bodyPr/>
        <a:lstStyle/>
        <a:p>
          <a:pPr algn="l">
            <a:buClrTx/>
            <a:buSzTx/>
            <a:buFontTx/>
            <a:buNone/>
          </a:pPr>
          <a:r>
            <a:rPr kumimoji="0" lang="en-US" sz="1400" b="1" i="0" u="none" strike="noStrike" cap="none" spc="0" normalizeH="0" baseline="0" noProof="0" dirty="0">
              <a:ln>
                <a:noFill/>
              </a:ln>
              <a:solidFill>
                <a:prstClr val="black"/>
              </a:solidFill>
              <a:effectLst/>
              <a:uLnTx/>
              <a:uFillTx/>
              <a:latin typeface="Calibri" panose="020F0502020204030204"/>
              <a:ea typeface="+mn-ea"/>
              <a:cs typeface="Calibri"/>
            </a:rPr>
            <a:t>Kelly Kravitz, MPSA </a:t>
          </a:r>
        </a:p>
        <a:p>
          <a:pPr algn="l" rtl="0">
            <a:buClrTx/>
            <a:buSzTx/>
            <a:buFontTx/>
            <a:buNone/>
          </a:pPr>
          <a:r>
            <a:rPr kumimoji="0" lang="en-US" sz="1400" i="1" u="none" strike="noStrike" cap="none" spc="0" normalizeH="0" baseline="0" noProof="0" dirty="0">
              <a:ln>
                <a:noFill/>
              </a:ln>
              <a:solidFill>
                <a:prstClr val="black"/>
              </a:solidFill>
              <a:effectLst/>
              <a:uLnTx/>
              <a:uFillTx/>
              <a:latin typeface="Calibri" panose="020F0502020204030204"/>
              <a:ea typeface="+mn-ea"/>
              <a:cs typeface="Calibri"/>
            </a:rPr>
            <a:t>Director</a:t>
          </a:r>
          <a:r>
            <a:rPr kumimoji="0" lang="en-US" sz="1400" i="0" u="none" strike="noStrike" cap="none" spc="0" normalizeH="0" baseline="0" noProof="0" dirty="0">
              <a:ln>
                <a:noFill/>
              </a:ln>
              <a:solidFill>
                <a:prstClr val="black"/>
              </a:solidFill>
              <a:effectLst/>
              <a:uLnTx/>
              <a:uFillTx/>
              <a:latin typeface="Calibri" panose="020F0502020204030204"/>
              <a:ea typeface="+mn-ea"/>
              <a:cs typeface="Calibri"/>
            </a:rPr>
            <a:t> </a:t>
          </a:r>
        </a:p>
        <a:p>
          <a:pPr algn="l">
            <a:buClrTx/>
            <a:buSzTx/>
            <a:buFontTx/>
            <a:buNone/>
          </a:pPr>
          <a:r>
            <a:rPr kumimoji="0" lang="en-US" sz="1400" i="0" u="none" strike="noStrike" cap="none" spc="0" normalizeH="0" baseline="0" noProof="0" dirty="0">
              <a:ln>
                <a:noFill/>
              </a:ln>
              <a:solidFill>
                <a:prstClr val="black"/>
              </a:solidFill>
              <a:effectLst/>
              <a:uLnTx/>
              <a:uFillTx/>
              <a:latin typeface="Calibri" panose="020F0502020204030204"/>
              <a:ea typeface="+mn-ea"/>
              <a:cs typeface="Calibri"/>
            </a:rPr>
            <a:t>Highly Mobile and At-Risk Student Programs</a:t>
          </a:r>
        </a:p>
        <a:p>
          <a:pPr algn="l">
            <a:buClrTx/>
            <a:buSzTx/>
            <a:buFontTx/>
            <a:buNone/>
          </a:pPr>
          <a:r>
            <a:rPr lang="en-US" sz="1400" dirty="0">
              <a:ea typeface="+mn-lt"/>
              <a:cs typeface="+mn-lt"/>
            </a:rPr>
            <a:t>Phone: 512-463-9235</a:t>
          </a:r>
        </a:p>
        <a:p>
          <a:pPr algn="l"/>
          <a:r>
            <a:rPr lang="en-US" sz="1400" dirty="0">
              <a:ea typeface="+mn-lt"/>
              <a:cs typeface="+mn-lt"/>
            </a:rPr>
            <a:t>Email: </a:t>
          </a:r>
          <a:r>
            <a:rPr lang="en-US" sz="1400" dirty="0">
              <a:ea typeface="+mn-lt"/>
              <a:cs typeface="+mn-lt"/>
              <a:hlinkClick xmlns:r="http://schemas.openxmlformats.org/officeDocument/2006/relationships" r:id="rId1"/>
            </a:rPr>
            <a:t>Kelly.Kravitz@tea.texas.gov</a:t>
          </a:r>
          <a:endParaRPr lang="en-US" sz="1400" dirty="0"/>
        </a:p>
      </dgm:t>
    </dgm:pt>
    <dgm:pt modelId="{8E4FD637-C8CB-429D-A53F-F830C0B0E208}" type="parTrans" cxnId="{CE73D0DE-571E-49C8-8826-3653639FF66A}">
      <dgm:prSet/>
      <dgm:spPr/>
      <dgm:t>
        <a:bodyPr/>
        <a:lstStyle/>
        <a:p>
          <a:endParaRPr lang="en-US"/>
        </a:p>
      </dgm:t>
    </dgm:pt>
    <dgm:pt modelId="{9D8C5DE0-1029-4449-941B-6478025426B2}" type="sibTrans" cxnId="{CE73D0DE-571E-49C8-8826-3653639FF66A}">
      <dgm:prSet/>
      <dgm:spPr/>
      <dgm:t>
        <a:bodyPr/>
        <a:lstStyle/>
        <a:p>
          <a:endParaRPr lang="en-US"/>
        </a:p>
      </dgm:t>
    </dgm:pt>
    <dgm:pt modelId="{98335BDE-54FC-47A0-A42F-610B8F7EBE28}">
      <dgm:prSet phldrT="[Text]" custT="1"/>
      <dgm:spPr/>
      <dgm:t>
        <a:bodyPr/>
        <a:lstStyle/>
        <a:p>
          <a:pPr>
            <a:buClrTx/>
            <a:buSzTx/>
            <a:buFontTx/>
            <a:buNone/>
          </a:pPr>
          <a:r>
            <a:rPr kumimoji="0" lang="en-US" sz="1400" b="1" i="0" u="none" strike="noStrike" cap="none" spc="0" normalizeH="0" baseline="0" noProof="0" dirty="0">
              <a:ln>
                <a:noFill/>
              </a:ln>
              <a:solidFill>
                <a:prstClr val="black"/>
              </a:solidFill>
              <a:effectLst/>
              <a:uLnTx/>
              <a:uFillTx/>
              <a:latin typeface="Calibri" panose="020F0502020204030204"/>
              <a:ea typeface="+mn-ea"/>
              <a:cs typeface="+mn-cs"/>
            </a:rPr>
            <a:t>Jordan Brown</a:t>
          </a:r>
        </a:p>
        <a:p>
          <a:pPr>
            <a:buClrTx/>
            <a:buSzTx/>
            <a:buFontTx/>
            <a:buNone/>
          </a:pPr>
          <a:r>
            <a:rPr kumimoji="0" lang="en-US" sz="1400" i="1" u="none" strike="noStrike" cap="none" spc="0" normalizeH="0" baseline="0" noProof="0" dirty="0">
              <a:ln>
                <a:noFill/>
              </a:ln>
              <a:solidFill>
                <a:prstClr val="black"/>
              </a:solidFill>
              <a:effectLst/>
              <a:uLnTx/>
              <a:uFillTx/>
              <a:latin typeface="Calibri" panose="020F0502020204030204"/>
              <a:ea typeface="+mn-ea"/>
              <a:cs typeface="+mn-cs"/>
            </a:rPr>
            <a:t>Program Specialist</a:t>
          </a:r>
        </a:p>
        <a:p>
          <a:pPr rtl="0">
            <a:buClrTx/>
            <a:buSzTx/>
            <a:buFontTx/>
            <a:buNone/>
          </a:pPr>
          <a:r>
            <a:rPr kumimoji="0" lang="en-US" sz="1400" i="0" u="none" strike="noStrike" cap="none" spc="0" normalizeH="0" baseline="0" noProof="0" dirty="0">
              <a:ln>
                <a:noFill/>
              </a:ln>
              <a:solidFill>
                <a:prstClr val="black"/>
              </a:solidFill>
              <a:effectLst/>
              <a:uLnTx/>
              <a:uFillTx/>
              <a:latin typeface="Calibri" panose="020F0502020204030204"/>
              <a:ea typeface="+mn-ea"/>
              <a:cs typeface="+mn-cs"/>
            </a:rPr>
            <a:t>Texas Education for Homeless Children and Youth (TEHCY) Program</a:t>
          </a:r>
        </a:p>
        <a:p>
          <a:pPr>
            <a:buClrTx/>
            <a:buSzTx/>
            <a:buFontTx/>
            <a:buNone/>
          </a:pPr>
          <a:r>
            <a:rPr lang="en-US" sz="1400" dirty="0"/>
            <a:t>Phone: 512-463-9467</a:t>
          </a:r>
        </a:p>
        <a:p>
          <a:r>
            <a:rPr lang="en-US" sz="1400" dirty="0"/>
            <a:t>Email: </a:t>
          </a:r>
          <a:r>
            <a:rPr lang="en-US" sz="1400" dirty="0">
              <a:hlinkClick xmlns:r="http://schemas.openxmlformats.org/officeDocument/2006/relationships" r:id="rId2"/>
            </a:rPr>
            <a:t>Jordan.Brown@tea.texas.gov</a:t>
          </a:r>
          <a:endParaRPr lang="en-US" sz="1400" dirty="0">
            <a:latin typeface="Calibri Light" panose="020F0302020204030204"/>
          </a:endParaRPr>
        </a:p>
      </dgm:t>
    </dgm:pt>
    <dgm:pt modelId="{98B2CBCE-26C6-452A-AA17-1BB24041717E}" type="parTrans" cxnId="{CA7A328E-4E25-453C-94F3-891D5D09D5A1}">
      <dgm:prSet/>
      <dgm:spPr/>
      <dgm:t>
        <a:bodyPr/>
        <a:lstStyle/>
        <a:p>
          <a:endParaRPr lang="en-US"/>
        </a:p>
      </dgm:t>
    </dgm:pt>
    <dgm:pt modelId="{38BB31D1-4E9F-49AB-A066-CD656A56E48B}" type="sibTrans" cxnId="{CA7A328E-4E25-453C-94F3-891D5D09D5A1}">
      <dgm:prSet/>
      <dgm:spPr/>
      <dgm:t>
        <a:bodyPr/>
        <a:lstStyle/>
        <a:p>
          <a:endParaRPr lang="en-US"/>
        </a:p>
      </dgm:t>
    </dgm:pt>
    <dgm:pt modelId="{C24609C1-566B-48FF-BA3A-EFDAF3FA66FD}" type="pres">
      <dgm:prSet presAssocID="{0989BA9D-1520-46DB-B3EB-A2A8CE366675}" presName="Name0" presStyleCnt="0">
        <dgm:presLayoutVars>
          <dgm:dir/>
          <dgm:resizeHandles val="exact"/>
        </dgm:presLayoutVars>
      </dgm:prSet>
      <dgm:spPr/>
    </dgm:pt>
    <dgm:pt modelId="{5CF42471-F810-427D-80DF-EDEF3C0CE54C}" type="pres">
      <dgm:prSet presAssocID="{9175745E-2BAA-4698-95AD-E52B0804063E}" presName="composite" presStyleCnt="0"/>
      <dgm:spPr/>
    </dgm:pt>
    <dgm:pt modelId="{A8BBC0E6-001A-4FB5-B37A-94AE2C83AFD5}" type="pres">
      <dgm:prSet presAssocID="{9175745E-2BAA-4698-95AD-E52B0804063E}" presName="rect1" presStyleLbl="trAlignAcc1" presStyleIdx="0" presStyleCnt="2">
        <dgm:presLayoutVars>
          <dgm:bulletEnabled val="1"/>
        </dgm:presLayoutVars>
      </dgm:prSet>
      <dgm:spPr/>
    </dgm:pt>
    <dgm:pt modelId="{B5E20274-0E53-47D1-BA65-B219FD0E69FD}" type="pres">
      <dgm:prSet presAssocID="{9175745E-2BAA-4698-95AD-E52B0804063E}" presName="rect2" presStyleLbl="fgImgPlace1" presStyleIdx="0" presStyleCnt="2" custAng="5400000" custScaleX="134457" custScaleY="70360"/>
      <dgm:spPr>
        <a:blipFill rotWithShape="1">
          <a:blip xmlns:r="http://schemas.openxmlformats.org/officeDocument/2006/relationships" r:embed="rId3" r:link="rId4">
            <a:extLst>
              <a:ext uri="{28A0092B-C50C-407E-A947-70E740481C1C}">
                <a14:useLocalDpi xmlns:a14="http://schemas.microsoft.com/office/drawing/2010/main" val="0"/>
              </a:ext>
            </a:extLst>
          </a:blip>
          <a:srcRect/>
          <a:stretch>
            <a:fillRect l="-2000" r="-2000"/>
          </a:stretch>
        </a:blipFill>
      </dgm:spPr>
    </dgm:pt>
    <dgm:pt modelId="{966C219C-16DA-40A9-AE85-366F05EB82D6}" type="pres">
      <dgm:prSet presAssocID="{9D8C5DE0-1029-4449-941B-6478025426B2}" presName="sibTrans" presStyleCnt="0"/>
      <dgm:spPr/>
    </dgm:pt>
    <dgm:pt modelId="{92449903-9D1C-471B-8D31-F56C17A7E727}" type="pres">
      <dgm:prSet presAssocID="{98335BDE-54FC-47A0-A42F-610B8F7EBE28}" presName="composite" presStyleCnt="0"/>
      <dgm:spPr/>
    </dgm:pt>
    <dgm:pt modelId="{FCAEBBE1-5CD7-4FC7-A401-7AF51C994F7B}" type="pres">
      <dgm:prSet presAssocID="{98335BDE-54FC-47A0-A42F-610B8F7EBE28}" presName="rect1" presStyleLbl="trAlignAcc1" presStyleIdx="1" presStyleCnt="2" custScaleY="112897">
        <dgm:presLayoutVars>
          <dgm:bulletEnabled val="1"/>
        </dgm:presLayoutVars>
      </dgm:prSet>
      <dgm:spPr/>
    </dgm:pt>
    <dgm:pt modelId="{31BDDF92-B616-40D4-ABB6-FCD9329F2188}" type="pres">
      <dgm:prSet presAssocID="{98335BDE-54FC-47A0-A42F-610B8F7EBE28}" presName="rect2" presStyleLbl="fgImgPlace1" presStyleIdx="1" presStyleCnt="2"/>
      <dgm:spPr>
        <a:blipFill>
          <a:blip xmlns:r="http://schemas.openxmlformats.org/officeDocument/2006/relationships" r:embed="rId5">
            <a:extLst>
              <a:ext uri="{28A0092B-C50C-407E-A947-70E740481C1C}">
                <a14:useLocalDpi xmlns:a14="http://schemas.microsoft.com/office/drawing/2010/main" val="0"/>
              </a:ext>
            </a:extLst>
          </a:blip>
          <a:srcRect/>
          <a:stretch>
            <a:fillRect l="-29000" r="-29000"/>
          </a:stretch>
        </a:blipFill>
      </dgm:spPr>
    </dgm:pt>
  </dgm:ptLst>
  <dgm:cxnLst>
    <dgm:cxn modelId="{94336B22-9074-4FCB-A3F2-6C2F931049CE}" type="presOf" srcId="{0989BA9D-1520-46DB-B3EB-A2A8CE366675}" destId="{C24609C1-566B-48FF-BA3A-EFDAF3FA66FD}" srcOrd="0" destOrd="0" presId="urn:microsoft.com/office/officeart/2008/layout/PictureStrips"/>
    <dgm:cxn modelId="{83F30C5C-DE82-40CD-96B5-4F47CC2D2D71}" type="presOf" srcId="{9175745E-2BAA-4698-95AD-E52B0804063E}" destId="{A8BBC0E6-001A-4FB5-B37A-94AE2C83AFD5}" srcOrd="0" destOrd="0" presId="urn:microsoft.com/office/officeart/2008/layout/PictureStrips"/>
    <dgm:cxn modelId="{CA7A328E-4E25-453C-94F3-891D5D09D5A1}" srcId="{0989BA9D-1520-46DB-B3EB-A2A8CE366675}" destId="{98335BDE-54FC-47A0-A42F-610B8F7EBE28}" srcOrd="1" destOrd="0" parTransId="{98B2CBCE-26C6-452A-AA17-1BB24041717E}" sibTransId="{38BB31D1-4E9F-49AB-A066-CD656A56E48B}"/>
    <dgm:cxn modelId="{0286DDC9-F31A-4F62-AABA-E0A6E5B9E999}" type="presOf" srcId="{98335BDE-54FC-47A0-A42F-610B8F7EBE28}" destId="{FCAEBBE1-5CD7-4FC7-A401-7AF51C994F7B}" srcOrd="0" destOrd="0" presId="urn:microsoft.com/office/officeart/2008/layout/PictureStrips"/>
    <dgm:cxn modelId="{CE73D0DE-571E-49C8-8826-3653639FF66A}" srcId="{0989BA9D-1520-46DB-B3EB-A2A8CE366675}" destId="{9175745E-2BAA-4698-95AD-E52B0804063E}" srcOrd="0" destOrd="0" parTransId="{8E4FD637-C8CB-429D-A53F-F830C0B0E208}" sibTransId="{9D8C5DE0-1029-4449-941B-6478025426B2}"/>
    <dgm:cxn modelId="{4A8769DE-13E2-47D4-A6C6-EC7AB4ABD8EB}" type="presParOf" srcId="{C24609C1-566B-48FF-BA3A-EFDAF3FA66FD}" destId="{5CF42471-F810-427D-80DF-EDEF3C0CE54C}" srcOrd="0" destOrd="0" presId="urn:microsoft.com/office/officeart/2008/layout/PictureStrips"/>
    <dgm:cxn modelId="{A558C3C9-6141-46E1-ABC6-B5FB433E55D9}" type="presParOf" srcId="{5CF42471-F810-427D-80DF-EDEF3C0CE54C}" destId="{A8BBC0E6-001A-4FB5-B37A-94AE2C83AFD5}" srcOrd="0" destOrd="0" presId="urn:microsoft.com/office/officeart/2008/layout/PictureStrips"/>
    <dgm:cxn modelId="{2C62BD25-6CC1-4BB9-AA6D-C5C284BA10A5}" type="presParOf" srcId="{5CF42471-F810-427D-80DF-EDEF3C0CE54C}" destId="{B5E20274-0E53-47D1-BA65-B219FD0E69FD}" srcOrd="1" destOrd="0" presId="urn:microsoft.com/office/officeart/2008/layout/PictureStrips"/>
    <dgm:cxn modelId="{C6AE0AB0-DAAA-4802-8571-BAA838CA3E77}" type="presParOf" srcId="{C24609C1-566B-48FF-BA3A-EFDAF3FA66FD}" destId="{966C219C-16DA-40A9-AE85-366F05EB82D6}" srcOrd="1" destOrd="0" presId="urn:microsoft.com/office/officeart/2008/layout/PictureStrips"/>
    <dgm:cxn modelId="{9E4065D3-8DB1-4856-B95D-5F4206809E45}" type="presParOf" srcId="{C24609C1-566B-48FF-BA3A-EFDAF3FA66FD}" destId="{92449903-9D1C-471B-8D31-F56C17A7E727}" srcOrd="2" destOrd="0" presId="urn:microsoft.com/office/officeart/2008/layout/PictureStrips"/>
    <dgm:cxn modelId="{4DEB481F-8528-4686-9B28-40174F71B9AD}" type="presParOf" srcId="{92449903-9D1C-471B-8D31-F56C17A7E727}" destId="{FCAEBBE1-5CD7-4FC7-A401-7AF51C994F7B}" srcOrd="0" destOrd="0" presId="urn:microsoft.com/office/officeart/2008/layout/PictureStrips"/>
    <dgm:cxn modelId="{7E235C3B-4541-42AA-95BC-DE7B51B39BC7}" type="presParOf" srcId="{92449903-9D1C-471B-8D31-F56C17A7E727}" destId="{31BDDF92-B616-40D4-ABB6-FCD9329F2188}"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C3335ED-9A51-4CC0-9211-EFBAB99789F2}" type="doc">
      <dgm:prSet loTypeId="urn:microsoft.com/office/officeart/2005/8/layout/process4" loCatId="list" qsTypeId="urn:microsoft.com/office/officeart/2005/8/quickstyle/simple1" qsCatId="simple" csTypeId="urn:microsoft.com/office/officeart/2005/8/colors/colorful3" csCatId="colorful" phldr="1"/>
      <dgm:spPr/>
      <dgm:t>
        <a:bodyPr/>
        <a:lstStyle/>
        <a:p>
          <a:endParaRPr lang="en-US"/>
        </a:p>
      </dgm:t>
    </dgm:pt>
    <dgm:pt modelId="{A198F765-2056-45B8-886D-21E8D862408C}">
      <dgm:prSet/>
      <dgm:spPr/>
      <dgm:t>
        <a:bodyPr/>
        <a:lstStyle/>
        <a:p>
          <a:r>
            <a:rPr lang="en-US" b="1" i="0"/>
            <a:t>Student eligibility for McKinney-Vento services should be assessed annually</a:t>
          </a:r>
          <a:endParaRPr lang="en-US"/>
        </a:p>
      </dgm:t>
      <dgm:extLst>
        <a:ext uri="{E40237B7-FDA0-4F09-8148-C483321AD2D9}">
          <dgm14:cNvPr xmlns:dgm14="http://schemas.microsoft.com/office/drawing/2010/diagram" id="0" name="" descr="Box 1: Student eligibility for McKinney-Vento services should be assessed annually&#10;Box 2: McKinney-Vento eligible students should be coded at the time of identification&#10;Box 3: Identification and coding is for the current school year&#10;Box 4: McKinney-Vento coding does not carry over from year-to-year&#10;"/>
        </a:ext>
      </dgm:extLst>
    </dgm:pt>
    <dgm:pt modelId="{B31658B0-974B-40BC-8C37-5F7CADD4E21E}" type="parTrans" cxnId="{6C730D6C-5E61-47C5-B85B-A039D4F70E72}">
      <dgm:prSet/>
      <dgm:spPr/>
      <dgm:t>
        <a:bodyPr/>
        <a:lstStyle/>
        <a:p>
          <a:endParaRPr lang="en-US"/>
        </a:p>
      </dgm:t>
    </dgm:pt>
    <dgm:pt modelId="{CA446E4B-37D1-42BD-B7E5-7CA50B927ABF}" type="sibTrans" cxnId="{6C730D6C-5E61-47C5-B85B-A039D4F70E72}">
      <dgm:prSet/>
      <dgm:spPr/>
      <dgm:t>
        <a:bodyPr/>
        <a:lstStyle/>
        <a:p>
          <a:endParaRPr lang="en-US"/>
        </a:p>
      </dgm:t>
    </dgm:pt>
    <dgm:pt modelId="{E6A5615A-57FD-4F6D-9BD6-4B90C0256EC8}">
      <dgm:prSet/>
      <dgm:spPr/>
      <dgm:t>
        <a:bodyPr/>
        <a:lstStyle/>
        <a:p>
          <a:r>
            <a:rPr lang="en-US" b="1" i="0"/>
            <a:t>McKinney-Vento eligible students should be coded at the time of identification</a:t>
          </a:r>
          <a:endParaRPr lang="en-US"/>
        </a:p>
      </dgm:t>
      <dgm:extLst>
        <a:ext uri="{E40237B7-FDA0-4F09-8148-C483321AD2D9}">
          <dgm14:cNvPr xmlns:dgm14="http://schemas.microsoft.com/office/drawing/2010/diagram" id="0" name="" descr="Box 1: Student eligibility for McKinney-Vento services should be assessed annually&#10;Box 2: McKinney-Vento eligible students should be coded at the time of identification&#10;Box 3: Identification and coding is for the current school year&#10;Box 4: McKinney-Vento coding does not carry over from year-to-year&#10;"/>
        </a:ext>
      </dgm:extLst>
    </dgm:pt>
    <dgm:pt modelId="{941FCCF9-5124-41F0-A602-803945EFE512}" type="parTrans" cxnId="{5219A33A-3FDE-4737-8BE2-7314A3221BEF}">
      <dgm:prSet/>
      <dgm:spPr/>
      <dgm:t>
        <a:bodyPr/>
        <a:lstStyle/>
        <a:p>
          <a:endParaRPr lang="en-US"/>
        </a:p>
      </dgm:t>
    </dgm:pt>
    <dgm:pt modelId="{A55F77FD-F08D-4FAB-A50E-DC4350339BBD}" type="sibTrans" cxnId="{5219A33A-3FDE-4737-8BE2-7314A3221BEF}">
      <dgm:prSet/>
      <dgm:spPr/>
      <dgm:t>
        <a:bodyPr/>
        <a:lstStyle/>
        <a:p>
          <a:endParaRPr lang="en-US"/>
        </a:p>
      </dgm:t>
    </dgm:pt>
    <dgm:pt modelId="{288A7433-D4C8-4C80-B513-DA445B66E31E}">
      <dgm:prSet/>
      <dgm:spPr>
        <a:solidFill>
          <a:schemeClr val="accent6">
            <a:lumMod val="50000"/>
          </a:schemeClr>
        </a:solidFill>
      </dgm:spPr>
      <dgm:t>
        <a:bodyPr/>
        <a:lstStyle/>
        <a:p>
          <a:r>
            <a:rPr lang="en-US" b="1" i="0"/>
            <a:t>McKinney-Vento coding does not carry over from year-to-year</a:t>
          </a:r>
          <a:endParaRPr lang="en-US"/>
        </a:p>
      </dgm:t>
      <dgm:extLst>
        <a:ext uri="{E40237B7-FDA0-4F09-8148-C483321AD2D9}">
          <dgm14:cNvPr xmlns:dgm14="http://schemas.microsoft.com/office/drawing/2010/diagram" id="0" name="" descr="Box 1: Student eligibility for McKinney-Vento services should be assessed annually&#10;Box 2: McKinney-Vento eligible students should be coded at the time of identification&#10;Box 3: Identification and coding is for the current school year&#10;Box 4: McKinney-Vento coding does not carry over from year-to-year&#10;"/>
        </a:ext>
      </dgm:extLst>
    </dgm:pt>
    <dgm:pt modelId="{6158A73D-6507-4EAD-9325-B67E426DB2ED}" type="sibTrans" cxnId="{C0EC4E4C-74BD-432A-BB63-069163028A55}">
      <dgm:prSet/>
      <dgm:spPr/>
      <dgm:t>
        <a:bodyPr/>
        <a:lstStyle/>
        <a:p>
          <a:endParaRPr lang="en-US"/>
        </a:p>
      </dgm:t>
    </dgm:pt>
    <dgm:pt modelId="{7546C787-2BFB-4D42-86D3-9D9FEBE1A537}" type="parTrans" cxnId="{C0EC4E4C-74BD-432A-BB63-069163028A55}">
      <dgm:prSet/>
      <dgm:spPr/>
      <dgm:t>
        <a:bodyPr/>
        <a:lstStyle/>
        <a:p>
          <a:endParaRPr lang="en-US"/>
        </a:p>
      </dgm:t>
    </dgm:pt>
    <dgm:pt modelId="{56385E86-C801-47DA-AAE8-E49A9084D918}">
      <dgm:prSet/>
      <dgm:spPr>
        <a:solidFill>
          <a:schemeClr val="tx2"/>
        </a:solidFill>
      </dgm:spPr>
      <dgm:t>
        <a:bodyPr/>
        <a:lstStyle/>
        <a:p>
          <a:r>
            <a:rPr lang="en-US" b="1" i="0"/>
            <a:t>Identification and coding is for the current school year</a:t>
          </a:r>
          <a:endParaRPr lang="en-US"/>
        </a:p>
      </dgm:t>
      <dgm:extLst>
        <a:ext uri="{E40237B7-FDA0-4F09-8148-C483321AD2D9}">
          <dgm14:cNvPr xmlns:dgm14="http://schemas.microsoft.com/office/drawing/2010/diagram" id="0" name="" descr="Box 1: Student eligibility for McKinney-Vento services should be assessed annually&#10;Box 2: McKinney-Vento eligible students should be coded at the time of identification&#10;Box 3: Identification and coding is for the current school year&#10;Box 4: McKinney-Vento coding does not carry over from year-to-year&#10;"/>
        </a:ext>
      </dgm:extLst>
    </dgm:pt>
    <dgm:pt modelId="{BA495CBA-CCDA-4283-AFE1-97504DBEDF79}" type="sibTrans" cxnId="{ACE4EA1C-5962-4D6A-944C-761F29927E65}">
      <dgm:prSet/>
      <dgm:spPr/>
      <dgm:t>
        <a:bodyPr/>
        <a:lstStyle/>
        <a:p>
          <a:endParaRPr lang="en-US"/>
        </a:p>
      </dgm:t>
    </dgm:pt>
    <dgm:pt modelId="{8D31BEED-1A3C-474E-B64A-5C06F0D64B29}" type="parTrans" cxnId="{ACE4EA1C-5962-4D6A-944C-761F29927E65}">
      <dgm:prSet/>
      <dgm:spPr/>
      <dgm:t>
        <a:bodyPr/>
        <a:lstStyle/>
        <a:p>
          <a:endParaRPr lang="en-US"/>
        </a:p>
      </dgm:t>
    </dgm:pt>
    <dgm:pt modelId="{F4DEA68D-F9AC-441F-9795-524D7DD84111}" type="pres">
      <dgm:prSet presAssocID="{1C3335ED-9A51-4CC0-9211-EFBAB99789F2}" presName="Name0" presStyleCnt="0">
        <dgm:presLayoutVars>
          <dgm:dir/>
          <dgm:animLvl val="lvl"/>
          <dgm:resizeHandles val="exact"/>
        </dgm:presLayoutVars>
      </dgm:prSet>
      <dgm:spPr/>
    </dgm:pt>
    <dgm:pt modelId="{3C8D5F2D-5073-4FB9-B6C9-21AAFBCF1A1A}" type="pres">
      <dgm:prSet presAssocID="{288A7433-D4C8-4C80-B513-DA445B66E31E}" presName="boxAndChildren" presStyleCnt="0"/>
      <dgm:spPr/>
    </dgm:pt>
    <dgm:pt modelId="{C0BB756D-A61F-4FF9-9F84-6F9BF212A738}" type="pres">
      <dgm:prSet presAssocID="{288A7433-D4C8-4C80-B513-DA445B66E31E}" presName="parentTextBox" presStyleLbl="node1" presStyleIdx="0" presStyleCnt="4"/>
      <dgm:spPr/>
    </dgm:pt>
    <dgm:pt modelId="{B58766DF-366A-46F7-BFBB-317B0416BACC}" type="pres">
      <dgm:prSet presAssocID="{BA495CBA-CCDA-4283-AFE1-97504DBEDF79}" presName="sp" presStyleCnt="0"/>
      <dgm:spPr/>
    </dgm:pt>
    <dgm:pt modelId="{BB616B55-BADF-42B8-9849-24D464986A80}" type="pres">
      <dgm:prSet presAssocID="{56385E86-C801-47DA-AAE8-E49A9084D918}" presName="arrowAndChildren" presStyleCnt="0"/>
      <dgm:spPr/>
    </dgm:pt>
    <dgm:pt modelId="{B1BFBF9F-B49A-4D36-B1C3-F561758EA20E}" type="pres">
      <dgm:prSet presAssocID="{56385E86-C801-47DA-AAE8-E49A9084D918}" presName="parentTextArrow" presStyleLbl="node1" presStyleIdx="1" presStyleCnt="4"/>
      <dgm:spPr/>
    </dgm:pt>
    <dgm:pt modelId="{086D40D5-8E38-4229-85AA-E89EE1C8DF22}" type="pres">
      <dgm:prSet presAssocID="{A55F77FD-F08D-4FAB-A50E-DC4350339BBD}" presName="sp" presStyleCnt="0"/>
      <dgm:spPr/>
    </dgm:pt>
    <dgm:pt modelId="{8BDC27C2-EBC4-482A-9583-8AED3D892757}" type="pres">
      <dgm:prSet presAssocID="{E6A5615A-57FD-4F6D-9BD6-4B90C0256EC8}" presName="arrowAndChildren" presStyleCnt="0"/>
      <dgm:spPr/>
    </dgm:pt>
    <dgm:pt modelId="{8A26F0C0-A495-45BF-B7A5-E9F011685616}" type="pres">
      <dgm:prSet presAssocID="{E6A5615A-57FD-4F6D-9BD6-4B90C0256EC8}" presName="parentTextArrow" presStyleLbl="node1" presStyleIdx="2" presStyleCnt="4" custLinFactNeighborX="675"/>
      <dgm:spPr/>
    </dgm:pt>
    <dgm:pt modelId="{5D4EB153-D21A-4DA0-9FE3-3BF9019EDCF8}" type="pres">
      <dgm:prSet presAssocID="{CA446E4B-37D1-42BD-B7E5-7CA50B927ABF}" presName="sp" presStyleCnt="0"/>
      <dgm:spPr/>
    </dgm:pt>
    <dgm:pt modelId="{5FF9EE88-07D9-4AAB-91DB-12CBB87D3974}" type="pres">
      <dgm:prSet presAssocID="{A198F765-2056-45B8-886D-21E8D862408C}" presName="arrowAndChildren" presStyleCnt="0"/>
      <dgm:spPr/>
    </dgm:pt>
    <dgm:pt modelId="{77A801E4-D8DA-4E56-9308-313B33D5C538}" type="pres">
      <dgm:prSet presAssocID="{A198F765-2056-45B8-886D-21E8D862408C}" presName="parentTextArrow" presStyleLbl="node1" presStyleIdx="3" presStyleCnt="4"/>
      <dgm:spPr/>
    </dgm:pt>
  </dgm:ptLst>
  <dgm:cxnLst>
    <dgm:cxn modelId="{FAD06810-2A9D-4A6A-A46E-118F040E318C}" type="presOf" srcId="{1C3335ED-9A51-4CC0-9211-EFBAB99789F2}" destId="{F4DEA68D-F9AC-441F-9795-524D7DD84111}" srcOrd="0" destOrd="0" presId="urn:microsoft.com/office/officeart/2005/8/layout/process4"/>
    <dgm:cxn modelId="{ACE4EA1C-5962-4D6A-944C-761F29927E65}" srcId="{1C3335ED-9A51-4CC0-9211-EFBAB99789F2}" destId="{56385E86-C801-47DA-AAE8-E49A9084D918}" srcOrd="2" destOrd="0" parTransId="{8D31BEED-1A3C-474E-B64A-5C06F0D64B29}" sibTransId="{BA495CBA-CCDA-4283-AFE1-97504DBEDF79}"/>
    <dgm:cxn modelId="{5219A33A-3FDE-4737-8BE2-7314A3221BEF}" srcId="{1C3335ED-9A51-4CC0-9211-EFBAB99789F2}" destId="{E6A5615A-57FD-4F6D-9BD6-4B90C0256EC8}" srcOrd="1" destOrd="0" parTransId="{941FCCF9-5124-41F0-A602-803945EFE512}" sibTransId="{A55F77FD-F08D-4FAB-A50E-DC4350339BBD}"/>
    <dgm:cxn modelId="{D0A80A43-7FEC-4DBF-BC05-89EEE2179AC4}" type="presOf" srcId="{288A7433-D4C8-4C80-B513-DA445B66E31E}" destId="{C0BB756D-A61F-4FF9-9F84-6F9BF212A738}" srcOrd="0" destOrd="0" presId="urn:microsoft.com/office/officeart/2005/8/layout/process4"/>
    <dgm:cxn modelId="{6C730D6C-5E61-47C5-B85B-A039D4F70E72}" srcId="{1C3335ED-9A51-4CC0-9211-EFBAB99789F2}" destId="{A198F765-2056-45B8-886D-21E8D862408C}" srcOrd="0" destOrd="0" parTransId="{B31658B0-974B-40BC-8C37-5F7CADD4E21E}" sibTransId="{CA446E4B-37D1-42BD-B7E5-7CA50B927ABF}"/>
    <dgm:cxn modelId="{C0EC4E4C-74BD-432A-BB63-069163028A55}" srcId="{1C3335ED-9A51-4CC0-9211-EFBAB99789F2}" destId="{288A7433-D4C8-4C80-B513-DA445B66E31E}" srcOrd="3" destOrd="0" parTransId="{7546C787-2BFB-4D42-86D3-9D9FEBE1A537}" sibTransId="{6158A73D-6507-4EAD-9325-B67E426DB2ED}"/>
    <dgm:cxn modelId="{7BCCCFB1-1C0A-4833-A0D5-7E9FAA6C40DC}" type="presOf" srcId="{E6A5615A-57FD-4F6D-9BD6-4B90C0256EC8}" destId="{8A26F0C0-A495-45BF-B7A5-E9F011685616}" srcOrd="0" destOrd="0" presId="urn:microsoft.com/office/officeart/2005/8/layout/process4"/>
    <dgm:cxn modelId="{A98601C8-59FA-4522-B190-EECF3996B77B}" type="presOf" srcId="{56385E86-C801-47DA-AAE8-E49A9084D918}" destId="{B1BFBF9F-B49A-4D36-B1C3-F561758EA20E}" srcOrd="0" destOrd="0" presId="urn:microsoft.com/office/officeart/2005/8/layout/process4"/>
    <dgm:cxn modelId="{37C795E5-C8EA-4355-9AE2-73C1C3EFCDD6}" type="presOf" srcId="{A198F765-2056-45B8-886D-21E8D862408C}" destId="{77A801E4-D8DA-4E56-9308-313B33D5C538}" srcOrd="0" destOrd="0" presId="urn:microsoft.com/office/officeart/2005/8/layout/process4"/>
    <dgm:cxn modelId="{BB76A8F6-0C16-4CBD-9245-ED439E867A00}" type="presParOf" srcId="{F4DEA68D-F9AC-441F-9795-524D7DD84111}" destId="{3C8D5F2D-5073-4FB9-B6C9-21AAFBCF1A1A}" srcOrd="0" destOrd="0" presId="urn:microsoft.com/office/officeart/2005/8/layout/process4"/>
    <dgm:cxn modelId="{4278CFD2-5AC0-42F2-B349-4E05579F39F8}" type="presParOf" srcId="{3C8D5F2D-5073-4FB9-B6C9-21AAFBCF1A1A}" destId="{C0BB756D-A61F-4FF9-9F84-6F9BF212A738}" srcOrd="0" destOrd="0" presId="urn:microsoft.com/office/officeart/2005/8/layout/process4"/>
    <dgm:cxn modelId="{D9DED957-5717-4C14-9180-858FB0F0C469}" type="presParOf" srcId="{F4DEA68D-F9AC-441F-9795-524D7DD84111}" destId="{B58766DF-366A-46F7-BFBB-317B0416BACC}" srcOrd="1" destOrd="0" presId="urn:microsoft.com/office/officeart/2005/8/layout/process4"/>
    <dgm:cxn modelId="{FE2BF7F8-FC7E-468B-AB3D-2CD547CA83CD}" type="presParOf" srcId="{F4DEA68D-F9AC-441F-9795-524D7DD84111}" destId="{BB616B55-BADF-42B8-9849-24D464986A80}" srcOrd="2" destOrd="0" presId="urn:microsoft.com/office/officeart/2005/8/layout/process4"/>
    <dgm:cxn modelId="{12ED3549-C0FF-4A84-A240-FA21A358EB02}" type="presParOf" srcId="{BB616B55-BADF-42B8-9849-24D464986A80}" destId="{B1BFBF9F-B49A-4D36-B1C3-F561758EA20E}" srcOrd="0" destOrd="0" presId="urn:microsoft.com/office/officeart/2005/8/layout/process4"/>
    <dgm:cxn modelId="{06B87103-F02B-4B92-A43B-54C79BDD813B}" type="presParOf" srcId="{F4DEA68D-F9AC-441F-9795-524D7DD84111}" destId="{086D40D5-8E38-4229-85AA-E89EE1C8DF22}" srcOrd="3" destOrd="0" presId="urn:microsoft.com/office/officeart/2005/8/layout/process4"/>
    <dgm:cxn modelId="{8DE02E4A-A970-4624-8005-486403222F5F}" type="presParOf" srcId="{F4DEA68D-F9AC-441F-9795-524D7DD84111}" destId="{8BDC27C2-EBC4-482A-9583-8AED3D892757}" srcOrd="4" destOrd="0" presId="urn:microsoft.com/office/officeart/2005/8/layout/process4"/>
    <dgm:cxn modelId="{36AFD4A9-3662-4040-84D9-FFCC4182AC58}" type="presParOf" srcId="{8BDC27C2-EBC4-482A-9583-8AED3D892757}" destId="{8A26F0C0-A495-45BF-B7A5-E9F011685616}" srcOrd="0" destOrd="0" presId="urn:microsoft.com/office/officeart/2005/8/layout/process4"/>
    <dgm:cxn modelId="{AA28AA18-6961-4914-B5A1-4B2F16A2CBA5}" type="presParOf" srcId="{F4DEA68D-F9AC-441F-9795-524D7DD84111}" destId="{5D4EB153-D21A-4DA0-9FE3-3BF9019EDCF8}" srcOrd="5" destOrd="0" presId="urn:microsoft.com/office/officeart/2005/8/layout/process4"/>
    <dgm:cxn modelId="{D5FF518A-5116-4B80-A0FE-14312A2510F1}" type="presParOf" srcId="{F4DEA68D-F9AC-441F-9795-524D7DD84111}" destId="{5FF9EE88-07D9-4AAB-91DB-12CBB87D3974}" srcOrd="6" destOrd="0" presId="urn:microsoft.com/office/officeart/2005/8/layout/process4"/>
    <dgm:cxn modelId="{9833475C-478B-49D1-8444-E3167C3BF75E}" type="presParOf" srcId="{5FF9EE88-07D9-4AAB-91DB-12CBB87D3974}" destId="{77A801E4-D8DA-4E56-9308-313B33D5C538}"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7245F6-BC36-4D3C-97DF-1EB63419AF2E}"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A64183BD-2D03-4B13-99A0-5B98ACCCAAE1}">
      <dgm:prSet phldrT="[Text]" custT="1"/>
      <dgm:spPr/>
      <dgm:t>
        <a:bodyPr/>
        <a:lstStyle/>
        <a:p>
          <a:r>
            <a:rPr lang="en-US" sz="2400" b="1"/>
            <a:t>Best practice to determine McKinney-Vento eligibility</a:t>
          </a:r>
        </a:p>
      </dgm:t>
      <dgm:extLst>
        <a:ext uri="{E40237B7-FDA0-4F09-8148-C483321AD2D9}">
          <dgm14:cNvPr xmlns:dgm14="http://schemas.microsoft.com/office/drawing/2010/diagram" id="0" name="" descr="Arrow 1:Best practice to determine McKinney-Vento eligibility&#10;throughout the school year&#10;&#10;"/>
        </a:ext>
      </dgm:extLst>
    </dgm:pt>
    <dgm:pt modelId="{2A377C4A-6A33-46D4-AB2A-DA1DD358A570}" type="parTrans" cxnId="{002A4369-E113-46DA-B2AE-312D8B21DA11}">
      <dgm:prSet/>
      <dgm:spPr/>
      <dgm:t>
        <a:bodyPr/>
        <a:lstStyle/>
        <a:p>
          <a:endParaRPr lang="en-US" sz="2400"/>
        </a:p>
      </dgm:t>
    </dgm:pt>
    <dgm:pt modelId="{30B2A164-AD4C-465D-A381-565C2200CD06}" type="sibTrans" cxnId="{002A4369-E113-46DA-B2AE-312D8B21DA11}">
      <dgm:prSet/>
      <dgm:spPr/>
      <dgm:t>
        <a:bodyPr/>
        <a:lstStyle/>
        <a:p>
          <a:endParaRPr lang="en-US" sz="2400"/>
        </a:p>
      </dgm:t>
    </dgm:pt>
    <dgm:pt modelId="{C1FCE4AB-0728-475F-ADE6-6FC4A270AAEF}">
      <dgm:prSet phldrT="[Text]" custT="1"/>
      <dgm:spPr/>
      <dgm:t>
        <a:bodyPr/>
        <a:lstStyle/>
        <a:p>
          <a:r>
            <a:rPr lang="en-US" sz="2400" b="1"/>
            <a:t>Available in a digital format </a:t>
          </a:r>
        </a:p>
      </dgm:t>
      <dgm:extLst>
        <a:ext uri="{E40237B7-FDA0-4F09-8148-C483321AD2D9}">
          <dgm14:cNvPr xmlns:dgm14="http://schemas.microsoft.com/office/drawing/2010/diagram" id="0" name="" descr="Arrow 2: Available in a digital and paper format &#10;&#10;"/>
        </a:ext>
      </dgm:extLst>
    </dgm:pt>
    <dgm:pt modelId="{E4260D55-8E2B-417E-9A8A-65DC007FA1A5}" type="parTrans" cxnId="{5028926E-7D87-46B8-A5D3-19A272AAA546}">
      <dgm:prSet/>
      <dgm:spPr/>
      <dgm:t>
        <a:bodyPr/>
        <a:lstStyle/>
        <a:p>
          <a:endParaRPr lang="en-US" sz="2400"/>
        </a:p>
      </dgm:t>
    </dgm:pt>
    <dgm:pt modelId="{1F7ABD33-32F5-4E5B-A86D-1B5460F6184A}" type="sibTrans" cxnId="{5028926E-7D87-46B8-A5D3-19A272AAA546}">
      <dgm:prSet/>
      <dgm:spPr/>
      <dgm:t>
        <a:bodyPr/>
        <a:lstStyle/>
        <a:p>
          <a:endParaRPr lang="en-US" sz="2400"/>
        </a:p>
      </dgm:t>
    </dgm:pt>
    <dgm:pt modelId="{D9D684C3-EC46-4587-B03D-00EDD2F3C231}">
      <dgm:prSet phldrT="[Text]" custT="1"/>
      <dgm:spPr/>
      <dgm:t>
        <a:bodyPr/>
        <a:lstStyle/>
        <a:p>
          <a:r>
            <a:rPr lang="en-US" sz="2400" b="1"/>
            <a:t>SRQ’s completed throughout the school year</a:t>
          </a:r>
        </a:p>
      </dgm:t>
      <dgm:extLst>
        <a:ext uri="{E40237B7-FDA0-4F09-8148-C483321AD2D9}">
          <dgm14:cNvPr xmlns:dgm14="http://schemas.microsoft.com/office/drawing/2010/diagram" id="0" name="" descr="&#10;Arrow 3: SRQ’s completed throughout the school year&#10;&#10;"/>
        </a:ext>
      </dgm:extLst>
    </dgm:pt>
    <dgm:pt modelId="{F5581F3B-3160-445E-AD34-83B0C87B1440}" type="parTrans" cxnId="{DB38808F-9F83-4804-BCA4-96266E0BA78E}">
      <dgm:prSet/>
      <dgm:spPr/>
      <dgm:t>
        <a:bodyPr/>
        <a:lstStyle/>
        <a:p>
          <a:endParaRPr lang="en-US" sz="2400"/>
        </a:p>
      </dgm:t>
    </dgm:pt>
    <dgm:pt modelId="{11E26B8F-9C89-4DCA-B3E8-A66450BDF554}" type="sibTrans" cxnId="{DB38808F-9F83-4804-BCA4-96266E0BA78E}">
      <dgm:prSet/>
      <dgm:spPr/>
      <dgm:t>
        <a:bodyPr/>
        <a:lstStyle/>
        <a:p>
          <a:endParaRPr lang="en-US" sz="2400"/>
        </a:p>
      </dgm:t>
    </dgm:pt>
    <dgm:pt modelId="{C1DA01C5-7A33-4BAC-B2E4-1B0C436283BE}" type="pres">
      <dgm:prSet presAssocID="{D07245F6-BC36-4D3C-97DF-1EB63419AF2E}" presName="Name0" presStyleCnt="0">
        <dgm:presLayoutVars>
          <dgm:chMax val="7"/>
          <dgm:chPref val="7"/>
          <dgm:dir/>
        </dgm:presLayoutVars>
      </dgm:prSet>
      <dgm:spPr/>
    </dgm:pt>
    <dgm:pt modelId="{A7BC2B7C-6FEA-442D-AEBF-81AFD90B6FB0}" type="pres">
      <dgm:prSet presAssocID="{D07245F6-BC36-4D3C-97DF-1EB63419AF2E}" presName="Name1" presStyleCnt="0"/>
      <dgm:spPr/>
    </dgm:pt>
    <dgm:pt modelId="{0DF318EF-9496-4563-A5B1-037A2DFE8657}" type="pres">
      <dgm:prSet presAssocID="{D07245F6-BC36-4D3C-97DF-1EB63419AF2E}" presName="cycle" presStyleCnt="0"/>
      <dgm:spPr/>
    </dgm:pt>
    <dgm:pt modelId="{060CE6FC-B2C7-40D8-A73D-706E76D83BA8}" type="pres">
      <dgm:prSet presAssocID="{D07245F6-BC36-4D3C-97DF-1EB63419AF2E}" presName="srcNode" presStyleLbl="node1" presStyleIdx="0" presStyleCnt="3"/>
      <dgm:spPr/>
    </dgm:pt>
    <dgm:pt modelId="{9AE584C4-CEEE-4983-B32D-17F54DB4322D}" type="pres">
      <dgm:prSet presAssocID="{D07245F6-BC36-4D3C-97DF-1EB63419AF2E}" presName="conn" presStyleLbl="parChTrans1D2" presStyleIdx="0" presStyleCnt="1"/>
      <dgm:spPr/>
    </dgm:pt>
    <dgm:pt modelId="{A28D01EE-08A6-42D2-B50E-B044796B901F}" type="pres">
      <dgm:prSet presAssocID="{D07245F6-BC36-4D3C-97DF-1EB63419AF2E}" presName="extraNode" presStyleLbl="node1" presStyleIdx="0" presStyleCnt="3"/>
      <dgm:spPr/>
    </dgm:pt>
    <dgm:pt modelId="{0A450D8C-4ACC-4D00-A71E-1E7324684C61}" type="pres">
      <dgm:prSet presAssocID="{D07245F6-BC36-4D3C-97DF-1EB63419AF2E}" presName="dstNode" presStyleLbl="node1" presStyleIdx="0" presStyleCnt="3"/>
      <dgm:spPr/>
    </dgm:pt>
    <dgm:pt modelId="{AA7B689C-EABE-41D4-B0EE-B931228A8631}" type="pres">
      <dgm:prSet presAssocID="{A64183BD-2D03-4B13-99A0-5B98ACCCAAE1}" presName="text_1" presStyleLbl="node1" presStyleIdx="0" presStyleCnt="3">
        <dgm:presLayoutVars>
          <dgm:bulletEnabled val="1"/>
        </dgm:presLayoutVars>
      </dgm:prSet>
      <dgm:spPr/>
    </dgm:pt>
    <dgm:pt modelId="{4B5F0046-49FD-4F31-AA80-727F86690D87}" type="pres">
      <dgm:prSet presAssocID="{A64183BD-2D03-4B13-99A0-5B98ACCCAAE1}" presName="accent_1" presStyleCnt="0"/>
      <dgm:spPr/>
    </dgm:pt>
    <dgm:pt modelId="{8BE17009-707D-4358-B69A-4591872C7F40}" type="pres">
      <dgm:prSet presAssocID="{A64183BD-2D03-4B13-99A0-5B98ACCCAAE1}" presName="accentRepeatNode" presStyleLbl="solidFgAcc1" presStyleIdx="0"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DEE39B46-50AE-44B6-98DC-9463162C2EE7}" type="pres">
      <dgm:prSet presAssocID="{C1FCE4AB-0728-475F-ADE6-6FC4A270AAEF}" presName="text_2" presStyleLbl="node1" presStyleIdx="1" presStyleCnt="3">
        <dgm:presLayoutVars>
          <dgm:bulletEnabled val="1"/>
        </dgm:presLayoutVars>
      </dgm:prSet>
      <dgm:spPr/>
    </dgm:pt>
    <dgm:pt modelId="{A57EADFB-FDE2-4D55-ABBD-0AF8AB7081B1}" type="pres">
      <dgm:prSet presAssocID="{C1FCE4AB-0728-475F-ADE6-6FC4A270AAEF}" presName="accent_2" presStyleCnt="0"/>
      <dgm:spPr/>
    </dgm:pt>
    <dgm:pt modelId="{5FF8D61E-9870-40ED-AC31-CEE2F9C4DF16}" type="pres">
      <dgm:prSet presAssocID="{C1FCE4AB-0728-475F-ADE6-6FC4A270AAEF}" presName="accentRepeatNode" presStyleLbl="solidFgAcc1" presStyleIdx="1"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3BF241DE-F6EF-4C03-AB85-C060530D6941}" type="pres">
      <dgm:prSet presAssocID="{D9D684C3-EC46-4587-B03D-00EDD2F3C231}" presName="text_3" presStyleLbl="node1" presStyleIdx="2" presStyleCnt="3">
        <dgm:presLayoutVars>
          <dgm:bulletEnabled val="1"/>
        </dgm:presLayoutVars>
      </dgm:prSet>
      <dgm:spPr/>
    </dgm:pt>
    <dgm:pt modelId="{6C6E2EE9-AAB1-4AB5-B31D-6A46D665F8D8}" type="pres">
      <dgm:prSet presAssocID="{D9D684C3-EC46-4587-B03D-00EDD2F3C231}" presName="accent_3" presStyleCnt="0"/>
      <dgm:spPr/>
    </dgm:pt>
    <dgm:pt modelId="{3D12CC4A-7464-4950-B158-2D76C2AD9ED2}" type="pres">
      <dgm:prSet presAssocID="{D9D684C3-EC46-4587-B03D-00EDD2F3C231}" presName="accentRepeatNode" presStyleLbl="solidFgAcc1" presStyleIdx="2"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Lst>
  <dgm:cxnLst>
    <dgm:cxn modelId="{BCE1E70B-1FF6-46E6-B44A-FE71EC4B1F8D}" type="presOf" srcId="{A64183BD-2D03-4B13-99A0-5B98ACCCAAE1}" destId="{AA7B689C-EABE-41D4-B0EE-B931228A8631}" srcOrd="0" destOrd="0" presId="urn:microsoft.com/office/officeart/2008/layout/VerticalCurvedList"/>
    <dgm:cxn modelId="{002A4369-E113-46DA-B2AE-312D8B21DA11}" srcId="{D07245F6-BC36-4D3C-97DF-1EB63419AF2E}" destId="{A64183BD-2D03-4B13-99A0-5B98ACCCAAE1}" srcOrd="0" destOrd="0" parTransId="{2A377C4A-6A33-46D4-AB2A-DA1DD358A570}" sibTransId="{30B2A164-AD4C-465D-A381-565C2200CD06}"/>
    <dgm:cxn modelId="{51EF336C-1644-4B71-AB78-876E55923C3A}" type="presOf" srcId="{D9D684C3-EC46-4587-B03D-00EDD2F3C231}" destId="{3BF241DE-F6EF-4C03-AB85-C060530D6941}" srcOrd="0" destOrd="0" presId="urn:microsoft.com/office/officeart/2008/layout/VerticalCurvedList"/>
    <dgm:cxn modelId="{5028926E-7D87-46B8-A5D3-19A272AAA546}" srcId="{D07245F6-BC36-4D3C-97DF-1EB63419AF2E}" destId="{C1FCE4AB-0728-475F-ADE6-6FC4A270AAEF}" srcOrd="1" destOrd="0" parTransId="{E4260D55-8E2B-417E-9A8A-65DC007FA1A5}" sibTransId="{1F7ABD33-32F5-4E5B-A86D-1B5460F6184A}"/>
    <dgm:cxn modelId="{E1FE128E-6323-474A-9349-83409DC25978}" type="presOf" srcId="{C1FCE4AB-0728-475F-ADE6-6FC4A270AAEF}" destId="{DEE39B46-50AE-44B6-98DC-9463162C2EE7}" srcOrd="0" destOrd="0" presId="urn:microsoft.com/office/officeart/2008/layout/VerticalCurvedList"/>
    <dgm:cxn modelId="{DB38808F-9F83-4804-BCA4-96266E0BA78E}" srcId="{D07245F6-BC36-4D3C-97DF-1EB63419AF2E}" destId="{D9D684C3-EC46-4587-B03D-00EDD2F3C231}" srcOrd="2" destOrd="0" parTransId="{F5581F3B-3160-445E-AD34-83B0C87B1440}" sibTransId="{11E26B8F-9C89-4DCA-B3E8-A66450BDF554}"/>
    <dgm:cxn modelId="{40009FA6-E100-4FDA-82AF-39AD5ACD196C}" type="presOf" srcId="{30B2A164-AD4C-465D-A381-565C2200CD06}" destId="{9AE584C4-CEEE-4983-B32D-17F54DB4322D}" srcOrd="0" destOrd="0" presId="urn:microsoft.com/office/officeart/2008/layout/VerticalCurvedList"/>
    <dgm:cxn modelId="{34687FEA-679E-4D7D-B3C7-0F8D48B26716}" type="presOf" srcId="{D07245F6-BC36-4D3C-97DF-1EB63419AF2E}" destId="{C1DA01C5-7A33-4BAC-B2E4-1B0C436283BE}" srcOrd="0" destOrd="0" presId="urn:microsoft.com/office/officeart/2008/layout/VerticalCurvedList"/>
    <dgm:cxn modelId="{1D32CDF2-9E5A-4D4F-AC4C-963D6D838EB0}" type="presParOf" srcId="{C1DA01C5-7A33-4BAC-B2E4-1B0C436283BE}" destId="{A7BC2B7C-6FEA-442D-AEBF-81AFD90B6FB0}" srcOrd="0" destOrd="0" presId="urn:microsoft.com/office/officeart/2008/layout/VerticalCurvedList"/>
    <dgm:cxn modelId="{3F4B7BBE-F956-496F-9AFB-52E1F507C26F}" type="presParOf" srcId="{A7BC2B7C-6FEA-442D-AEBF-81AFD90B6FB0}" destId="{0DF318EF-9496-4563-A5B1-037A2DFE8657}" srcOrd="0" destOrd="0" presId="urn:microsoft.com/office/officeart/2008/layout/VerticalCurvedList"/>
    <dgm:cxn modelId="{4AA6C855-0575-47B8-AAEA-80AD4CE875A0}" type="presParOf" srcId="{0DF318EF-9496-4563-A5B1-037A2DFE8657}" destId="{060CE6FC-B2C7-40D8-A73D-706E76D83BA8}" srcOrd="0" destOrd="0" presId="urn:microsoft.com/office/officeart/2008/layout/VerticalCurvedList"/>
    <dgm:cxn modelId="{5D3AC151-C6AA-414F-9151-846CD17D232D}" type="presParOf" srcId="{0DF318EF-9496-4563-A5B1-037A2DFE8657}" destId="{9AE584C4-CEEE-4983-B32D-17F54DB4322D}" srcOrd="1" destOrd="0" presId="urn:microsoft.com/office/officeart/2008/layout/VerticalCurvedList"/>
    <dgm:cxn modelId="{17961190-B23E-4FA2-8863-F0CA20BBFF91}" type="presParOf" srcId="{0DF318EF-9496-4563-A5B1-037A2DFE8657}" destId="{A28D01EE-08A6-42D2-B50E-B044796B901F}" srcOrd="2" destOrd="0" presId="urn:microsoft.com/office/officeart/2008/layout/VerticalCurvedList"/>
    <dgm:cxn modelId="{7018679A-8970-4972-B137-4955AFA15F3A}" type="presParOf" srcId="{0DF318EF-9496-4563-A5B1-037A2DFE8657}" destId="{0A450D8C-4ACC-4D00-A71E-1E7324684C61}" srcOrd="3" destOrd="0" presId="urn:microsoft.com/office/officeart/2008/layout/VerticalCurvedList"/>
    <dgm:cxn modelId="{70C3F37E-04BA-4034-AB69-61CE90013BC0}" type="presParOf" srcId="{A7BC2B7C-6FEA-442D-AEBF-81AFD90B6FB0}" destId="{AA7B689C-EABE-41D4-B0EE-B931228A8631}" srcOrd="1" destOrd="0" presId="urn:microsoft.com/office/officeart/2008/layout/VerticalCurvedList"/>
    <dgm:cxn modelId="{8EB7E7D0-5AAD-4EFB-8948-0D5A069560C0}" type="presParOf" srcId="{A7BC2B7C-6FEA-442D-AEBF-81AFD90B6FB0}" destId="{4B5F0046-49FD-4F31-AA80-727F86690D87}" srcOrd="2" destOrd="0" presId="urn:microsoft.com/office/officeart/2008/layout/VerticalCurvedList"/>
    <dgm:cxn modelId="{241CF3A5-F251-4238-B2F4-0BF40DCDF528}" type="presParOf" srcId="{4B5F0046-49FD-4F31-AA80-727F86690D87}" destId="{8BE17009-707D-4358-B69A-4591872C7F40}" srcOrd="0" destOrd="0" presId="urn:microsoft.com/office/officeart/2008/layout/VerticalCurvedList"/>
    <dgm:cxn modelId="{6AD1EE56-DAD4-4659-BB87-51C1C5B3B550}" type="presParOf" srcId="{A7BC2B7C-6FEA-442D-AEBF-81AFD90B6FB0}" destId="{DEE39B46-50AE-44B6-98DC-9463162C2EE7}" srcOrd="3" destOrd="0" presId="urn:microsoft.com/office/officeart/2008/layout/VerticalCurvedList"/>
    <dgm:cxn modelId="{5B6511AC-2AC5-468D-B897-47D42066FD03}" type="presParOf" srcId="{A7BC2B7C-6FEA-442D-AEBF-81AFD90B6FB0}" destId="{A57EADFB-FDE2-4D55-ABBD-0AF8AB7081B1}" srcOrd="4" destOrd="0" presId="urn:microsoft.com/office/officeart/2008/layout/VerticalCurvedList"/>
    <dgm:cxn modelId="{B8FBBAF2-71F6-49AF-B0E5-BA64DD152554}" type="presParOf" srcId="{A57EADFB-FDE2-4D55-ABBD-0AF8AB7081B1}" destId="{5FF8D61E-9870-40ED-AC31-CEE2F9C4DF16}" srcOrd="0" destOrd="0" presId="urn:microsoft.com/office/officeart/2008/layout/VerticalCurvedList"/>
    <dgm:cxn modelId="{2646AB02-D255-48A1-8EF9-F23D556064B0}" type="presParOf" srcId="{A7BC2B7C-6FEA-442D-AEBF-81AFD90B6FB0}" destId="{3BF241DE-F6EF-4C03-AB85-C060530D6941}" srcOrd="5" destOrd="0" presId="urn:microsoft.com/office/officeart/2008/layout/VerticalCurvedList"/>
    <dgm:cxn modelId="{1B3E8B12-A8D5-439F-B657-E114017F569C}" type="presParOf" srcId="{A7BC2B7C-6FEA-442D-AEBF-81AFD90B6FB0}" destId="{6C6E2EE9-AAB1-4AB5-B31D-6A46D665F8D8}" srcOrd="6" destOrd="0" presId="urn:microsoft.com/office/officeart/2008/layout/VerticalCurvedList"/>
    <dgm:cxn modelId="{1F64EA78-8337-46BE-B36B-0410C86C53EB}" type="presParOf" srcId="{6C6E2EE9-AAB1-4AB5-B31D-6A46D665F8D8}" destId="{3D12CC4A-7464-4950-B158-2D76C2AD9ED2}"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07245F6-BC36-4D3C-97DF-1EB63419AF2E}"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A64183BD-2D03-4B13-99A0-5B98ACCCAAE1}">
      <dgm:prSet phldrT="[Text]" custT="1"/>
      <dgm:spPr/>
      <dgm:t>
        <a:bodyPr/>
        <a:lstStyle/>
        <a:p>
          <a:r>
            <a:rPr lang="en-US" sz="2400" b="1"/>
            <a:t>Clarify responses on the SRQ</a:t>
          </a:r>
        </a:p>
      </dgm:t>
      <dgm:extLst>
        <a:ext uri="{E40237B7-FDA0-4F09-8148-C483321AD2D9}">
          <dgm14:cNvPr xmlns:dgm14="http://schemas.microsoft.com/office/drawing/2010/diagram" id="0" name="" descr="Box 1: Clarify responses on the SRQ&#10;"/>
        </a:ext>
      </dgm:extLst>
    </dgm:pt>
    <dgm:pt modelId="{2A377C4A-6A33-46D4-AB2A-DA1DD358A570}" type="parTrans" cxnId="{002A4369-E113-46DA-B2AE-312D8B21DA11}">
      <dgm:prSet/>
      <dgm:spPr/>
      <dgm:t>
        <a:bodyPr/>
        <a:lstStyle/>
        <a:p>
          <a:endParaRPr lang="en-US"/>
        </a:p>
      </dgm:t>
    </dgm:pt>
    <dgm:pt modelId="{30B2A164-AD4C-465D-A381-565C2200CD06}" type="sibTrans" cxnId="{002A4369-E113-46DA-B2AE-312D8B21DA11}">
      <dgm:prSet/>
      <dgm:spPr/>
      <dgm:t>
        <a:bodyPr/>
        <a:lstStyle/>
        <a:p>
          <a:endParaRPr lang="en-US"/>
        </a:p>
      </dgm:t>
    </dgm:pt>
    <dgm:pt modelId="{C1FCE4AB-0728-475F-ADE6-6FC4A270AAEF}">
      <dgm:prSet phldrT="[Text]" custT="1"/>
      <dgm:spPr/>
      <dgm:t>
        <a:bodyPr/>
        <a:lstStyle/>
        <a:p>
          <a:r>
            <a:rPr lang="en-US" sz="2400" b="1"/>
            <a:t>Document School of Origin</a:t>
          </a:r>
        </a:p>
      </dgm:t>
      <dgm:extLst>
        <a:ext uri="{E40237B7-FDA0-4F09-8148-C483321AD2D9}">
          <dgm14:cNvPr xmlns:dgm14="http://schemas.microsoft.com/office/drawing/2010/diagram" id="0" name="" descr="&#10;Box 2: Document School of Origin&#10;&#10;"/>
        </a:ext>
      </dgm:extLst>
    </dgm:pt>
    <dgm:pt modelId="{E4260D55-8E2B-417E-9A8A-65DC007FA1A5}" type="parTrans" cxnId="{5028926E-7D87-46B8-A5D3-19A272AAA546}">
      <dgm:prSet/>
      <dgm:spPr/>
      <dgm:t>
        <a:bodyPr/>
        <a:lstStyle/>
        <a:p>
          <a:endParaRPr lang="en-US"/>
        </a:p>
      </dgm:t>
    </dgm:pt>
    <dgm:pt modelId="{1F7ABD33-32F5-4E5B-A86D-1B5460F6184A}" type="sibTrans" cxnId="{5028926E-7D87-46B8-A5D3-19A272AAA546}">
      <dgm:prSet/>
      <dgm:spPr/>
      <dgm:t>
        <a:bodyPr/>
        <a:lstStyle/>
        <a:p>
          <a:endParaRPr lang="en-US"/>
        </a:p>
      </dgm:t>
    </dgm:pt>
    <dgm:pt modelId="{D9D684C3-EC46-4587-B03D-00EDD2F3C231}">
      <dgm:prSet phldrT="[Text]" custT="1"/>
      <dgm:spPr/>
      <dgm:t>
        <a:bodyPr/>
        <a:lstStyle/>
        <a:p>
          <a:r>
            <a:rPr lang="en-US" sz="2400" b="1"/>
            <a:t>Identify all eligible students in the family </a:t>
          </a:r>
        </a:p>
      </dgm:t>
      <dgm:extLst>
        <a:ext uri="{E40237B7-FDA0-4F09-8148-C483321AD2D9}">
          <dgm14:cNvPr xmlns:dgm14="http://schemas.microsoft.com/office/drawing/2010/diagram" id="0" name="" descr="&#10;Box 3: Identify all eligible students in the family &#10;"/>
        </a:ext>
      </dgm:extLst>
    </dgm:pt>
    <dgm:pt modelId="{F5581F3B-3160-445E-AD34-83B0C87B1440}" type="parTrans" cxnId="{DB38808F-9F83-4804-BCA4-96266E0BA78E}">
      <dgm:prSet/>
      <dgm:spPr/>
      <dgm:t>
        <a:bodyPr/>
        <a:lstStyle/>
        <a:p>
          <a:endParaRPr lang="en-US"/>
        </a:p>
      </dgm:t>
    </dgm:pt>
    <dgm:pt modelId="{11E26B8F-9C89-4DCA-B3E8-A66450BDF554}" type="sibTrans" cxnId="{DB38808F-9F83-4804-BCA4-96266E0BA78E}">
      <dgm:prSet/>
      <dgm:spPr/>
      <dgm:t>
        <a:bodyPr/>
        <a:lstStyle/>
        <a:p>
          <a:endParaRPr lang="en-US"/>
        </a:p>
      </dgm:t>
    </dgm:pt>
    <dgm:pt modelId="{C1DA01C5-7A33-4BAC-B2E4-1B0C436283BE}" type="pres">
      <dgm:prSet presAssocID="{D07245F6-BC36-4D3C-97DF-1EB63419AF2E}" presName="Name0" presStyleCnt="0">
        <dgm:presLayoutVars>
          <dgm:chMax val="7"/>
          <dgm:chPref val="7"/>
          <dgm:dir/>
        </dgm:presLayoutVars>
      </dgm:prSet>
      <dgm:spPr/>
    </dgm:pt>
    <dgm:pt modelId="{A7BC2B7C-6FEA-442D-AEBF-81AFD90B6FB0}" type="pres">
      <dgm:prSet presAssocID="{D07245F6-BC36-4D3C-97DF-1EB63419AF2E}" presName="Name1" presStyleCnt="0"/>
      <dgm:spPr/>
    </dgm:pt>
    <dgm:pt modelId="{0DF318EF-9496-4563-A5B1-037A2DFE8657}" type="pres">
      <dgm:prSet presAssocID="{D07245F6-BC36-4D3C-97DF-1EB63419AF2E}" presName="cycle" presStyleCnt="0"/>
      <dgm:spPr/>
    </dgm:pt>
    <dgm:pt modelId="{060CE6FC-B2C7-40D8-A73D-706E76D83BA8}" type="pres">
      <dgm:prSet presAssocID="{D07245F6-BC36-4D3C-97DF-1EB63419AF2E}" presName="srcNode" presStyleLbl="node1" presStyleIdx="0" presStyleCnt="3"/>
      <dgm:spPr/>
    </dgm:pt>
    <dgm:pt modelId="{9AE584C4-CEEE-4983-B32D-17F54DB4322D}" type="pres">
      <dgm:prSet presAssocID="{D07245F6-BC36-4D3C-97DF-1EB63419AF2E}" presName="conn" presStyleLbl="parChTrans1D2" presStyleIdx="0" presStyleCnt="1"/>
      <dgm:spPr/>
    </dgm:pt>
    <dgm:pt modelId="{A28D01EE-08A6-42D2-B50E-B044796B901F}" type="pres">
      <dgm:prSet presAssocID="{D07245F6-BC36-4D3C-97DF-1EB63419AF2E}" presName="extraNode" presStyleLbl="node1" presStyleIdx="0" presStyleCnt="3"/>
      <dgm:spPr/>
    </dgm:pt>
    <dgm:pt modelId="{0A450D8C-4ACC-4D00-A71E-1E7324684C61}" type="pres">
      <dgm:prSet presAssocID="{D07245F6-BC36-4D3C-97DF-1EB63419AF2E}" presName="dstNode" presStyleLbl="node1" presStyleIdx="0" presStyleCnt="3"/>
      <dgm:spPr/>
    </dgm:pt>
    <dgm:pt modelId="{AA7B689C-EABE-41D4-B0EE-B931228A8631}" type="pres">
      <dgm:prSet presAssocID="{A64183BD-2D03-4B13-99A0-5B98ACCCAAE1}" presName="text_1" presStyleLbl="node1" presStyleIdx="0" presStyleCnt="3">
        <dgm:presLayoutVars>
          <dgm:bulletEnabled val="1"/>
        </dgm:presLayoutVars>
      </dgm:prSet>
      <dgm:spPr/>
    </dgm:pt>
    <dgm:pt modelId="{4B5F0046-49FD-4F31-AA80-727F86690D87}" type="pres">
      <dgm:prSet presAssocID="{A64183BD-2D03-4B13-99A0-5B98ACCCAAE1}" presName="accent_1" presStyleCnt="0"/>
      <dgm:spPr/>
    </dgm:pt>
    <dgm:pt modelId="{8BE17009-707D-4358-B69A-4591872C7F40}" type="pres">
      <dgm:prSet presAssocID="{A64183BD-2D03-4B13-99A0-5B98ACCCAAE1}" presName="accentRepeatNode" presStyleLbl="solidFgAcc1" presStyleIdx="0"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DEE39B46-50AE-44B6-98DC-9463162C2EE7}" type="pres">
      <dgm:prSet presAssocID="{C1FCE4AB-0728-475F-ADE6-6FC4A270AAEF}" presName="text_2" presStyleLbl="node1" presStyleIdx="1" presStyleCnt="3">
        <dgm:presLayoutVars>
          <dgm:bulletEnabled val="1"/>
        </dgm:presLayoutVars>
      </dgm:prSet>
      <dgm:spPr/>
    </dgm:pt>
    <dgm:pt modelId="{A57EADFB-FDE2-4D55-ABBD-0AF8AB7081B1}" type="pres">
      <dgm:prSet presAssocID="{C1FCE4AB-0728-475F-ADE6-6FC4A270AAEF}" presName="accent_2" presStyleCnt="0"/>
      <dgm:spPr/>
    </dgm:pt>
    <dgm:pt modelId="{5FF8D61E-9870-40ED-AC31-CEE2F9C4DF16}" type="pres">
      <dgm:prSet presAssocID="{C1FCE4AB-0728-475F-ADE6-6FC4A270AAEF}" presName="accentRepeatNode" presStyleLbl="solidFgAcc1" presStyleIdx="1"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3BF241DE-F6EF-4C03-AB85-C060530D6941}" type="pres">
      <dgm:prSet presAssocID="{D9D684C3-EC46-4587-B03D-00EDD2F3C231}" presName="text_3" presStyleLbl="node1" presStyleIdx="2" presStyleCnt="3">
        <dgm:presLayoutVars>
          <dgm:bulletEnabled val="1"/>
        </dgm:presLayoutVars>
      </dgm:prSet>
      <dgm:spPr/>
    </dgm:pt>
    <dgm:pt modelId="{6C6E2EE9-AAB1-4AB5-B31D-6A46D665F8D8}" type="pres">
      <dgm:prSet presAssocID="{D9D684C3-EC46-4587-B03D-00EDD2F3C231}" presName="accent_3" presStyleCnt="0"/>
      <dgm:spPr/>
    </dgm:pt>
    <dgm:pt modelId="{3D12CC4A-7464-4950-B158-2D76C2AD9ED2}" type="pres">
      <dgm:prSet presAssocID="{D9D684C3-EC46-4587-B03D-00EDD2F3C231}" presName="accentRepeatNode" presStyleLbl="solidFgAcc1" presStyleIdx="2"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Lst>
  <dgm:cxnLst>
    <dgm:cxn modelId="{BCE1E70B-1FF6-46E6-B44A-FE71EC4B1F8D}" type="presOf" srcId="{A64183BD-2D03-4B13-99A0-5B98ACCCAAE1}" destId="{AA7B689C-EABE-41D4-B0EE-B931228A8631}" srcOrd="0" destOrd="0" presId="urn:microsoft.com/office/officeart/2008/layout/VerticalCurvedList"/>
    <dgm:cxn modelId="{002A4369-E113-46DA-B2AE-312D8B21DA11}" srcId="{D07245F6-BC36-4D3C-97DF-1EB63419AF2E}" destId="{A64183BD-2D03-4B13-99A0-5B98ACCCAAE1}" srcOrd="0" destOrd="0" parTransId="{2A377C4A-6A33-46D4-AB2A-DA1DD358A570}" sibTransId="{30B2A164-AD4C-465D-A381-565C2200CD06}"/>
    <dgm:cxn modelId="{51EF336C-1644-4B71-AB78-876E55923C3A}" type="presOf" srcId="{D9D684C3-EC46-4587-B03D-00EDD2F3C231}" destId="{3BF241DE-F6EF-4C03-AB85-C060530D6941}" srcOrd="0" destOrd="0" presId="urn:microsoft.com/office/officeart/2008/layout/VerticalCurvedList"/>
    <dgm:cxn modelId="{5028926E-7D87-46B8-A5D3-19A272AAA546}" srcId="{D07245F6-BC36-4D3C-97DF-1EB63419AF2E}" destId="{C1FCE4AB-0728-475F-ADE6-6FC4A270AAEF}" srcOrd="1" destOrd="0" parTransId="{E4260D55-8E2B-417E-9A8A-65DC007FA1A5}" sibTransId="{1F7ABD33-32F5-4E5B-A86D-1B5460F6184A}"/>
    <dgm:cxn modelId="{E1FE128E-6323-474A-9349-83409DC25978}" type="presOf" srcId="{C1FCE4AB-0728-475F-ADE6-6FC4A270AAEF}" destId="{DEE39B46-50AE-44B6-98DC-9463162C2EE7}" srcOrd="0" destOrd="0" presId="urn:microsoft.com/office/officeart/2008/layout/VerticalCurvedList"/>
    <dgm:cxn modelId="{DB38808F-9F83-4804-BCA4-96266E0BA78E}" srcId="{D07245F6-BC36-4D3C-97DF-1EB63419AF2E}" destId="{D9D684C3-EC46-4587-B03D-00EDD2F3C231}" srcOrd="2" destOrd="0" parTransId="{F5581F3B-3160-445E-AD34-83B0C87B1440}" sibTransId="{11E26B8F-9C89-4DCA-B3E8-A66450BDF554}"/>
    <dgm:cxn modelId="{40009FA6-E100-4FDA-82AF-39AD5ACD196C}" type="presOf" srcId="{30B2A164-AD4C-465D-A381-565C2200CD06}" destId="{9AE584C4-CEEE-4983-B32D-17F54DB4322D}" srcOrd="0" destOrd="0" presId="urn:microsoft.com/office/officeart/2008/layout/VerticalCurvedList"/>
    <dgm:cxn modelId="{34687FEA-679E-4D7D-B3C7-0F8D48B26716}" type="presOf" srcId="{D07245F6-BC36-4D3C-97DF-1EB63419AF2E}" destId="{C1DA01C5-7A33-4BAC-B2E4-1B0C436283BE}" srcOrd="0" destOrd="0" presId="urn:microsoft.com/office/officeart/2008/layout/VerticalCurvedList"/>
    <dgm:cxn modelId="{1D32CDF2-9E5A-4D4F-AC4C-963D6D838EB0}" type="presParOf" srcId="{C1DA01C5-7A33-4BAC-B2E4-1B0C436283BE}" destId="{A7BC2B7C-6FEA-442D-AEBF-81AFD90B6FB0}" srcOrd="0" destOrd="0" presId="urn:microsoft.com/office/officeart/2008/layout/VerticalCurvedList"/>
    <dgm:cxn modelId="{3F4B7BBE-F956-496F-9AFB-52E1F507C26F}" type="presParOf" srcId="{A7BC2B7C-6FEA-442D-AEBF-81AFD90B6FB0}" destId="{0DF318EF-9496-4563-A5B1-037A2DFE8657}" srcOrd="0" destOrd="0" presId="urn:microsoft.com/office/officeart/2008/layout/VerticalCurvedList"/>
    <dgm:cxn modelId="{4AA6C855-0575-47B8-AAEA-80AD4CE875A0}" type="presParOf" srcId="{0DF318EF-9496-4563-A5B1-037A2DFE8657}" destId="{060CE6FC-B2C7-40D8-A73D-706E76D83BA8}" srcOrd="0" destOrd="0" presId="urn:microsoft.com/office/officeart/2008/layout/VerticalCurvedList"/>
    <dgm:cxn modelId="{5D3AC151-C6AA-414F-9151-846CD17D232D}" type="presParOf" srcId="{0DF318EF-9496-4563-A5B1-037A2DFE8657}" destId="{9AE584C4-CEEE-4983-B32D-17F54DB4322D}" srcOrd="1" destOrd="0" presId="urn:microsoft.com/office/officeart/2008/layout/VerticalCurvedList"/>
    <dgm:cxn modelId="{17961190-B23E-4FA2-8863-F0CA20BBFF91}" type="presParOf" srcId="{0DF318EF-9496-4563-A5B1-037A2DFE8657}" destId="{A28D01EE-08A6-42D2-B50E-B044796B901F}" srcOrd="2" destOrd="0" presId="urn:microsoft.com/office/officeart/2008/layout/VerticalCurvedList"/>
    <dgm:cxn modelId="{7018679A-8970-4972-B137-4955AFA15F3A}" type="presParOf" srcId="{0DF318EF-9496-4563-A5B1-037A2DFE8657}" destId="{0A450D8C-4ACC-4D00-A71E-1E7324684C61}" srcOrd="3" destOrd="0" presId="urn:microsoft.com/office/officeart/2008/layout/VerticalCurvedList"/>
    <dgm:cxn modelId="{70C3F37E-04BA-4034-AB69-61CE90013BC0}" type="presParOf" srcId="{A7BC2B7C-6FEA-442D-AEBF-81AFD90B6FB0}" destId="{AA7B689C-EABE-41D4-B0EE-B931228A8631}" srcOrd="1" destOrd="0" presId="urn:microsoft.com/office/officeart/2008/layout/VerticalCurvedList"/>
    <dgm:cxn modelId="{8EB7E7D0-5AAD-4EFB-8948-0D5A069560C0}" type="presParOf" srcId="{A7BC2B7C-6FEA-442D-AEBF-81AFD90B6FB0}" destId="{4B5F0046-49FD-4F31-AA80-727F86690D87}" srcOrd="2" destOrd="0" presId="urn:microsoft.com/office/officeart/2008/layout/VerticalCurvedList"/>
    <dgm:cxn modelId="{241CF3A5-F251-4238-B2F4-0BF40DCDF528}" type="presParOf" srcId="{4B5F0046-49FD-4F31-AA80-727F86690D87}" destId="{8BE17009-707D-4358-B69A-4591872C7F40}" srcOrd="0" destOrd="0" presId="urn:microsoft.com/office/officeart/2008/layout/VerticalCurvedList"/>
    <dgm:cxn modelId="{6AD1EE56-DAD4-4659-BB87-51C1C5B3B550}" type="presParOf" srcId="{A7BC2B7C-6FEA-442D-AEBF-81AFD90B6FB0}" destId="{DEE39B46-50AE-44B6-98DC-9463162C2EE7}" srcOrd="3" destOrd="0" presId="urn:microsoft.com/office/officeart/2008/layout/VerticalCurvedList"/>
    <dgm:cxn modelId="{5B6511AC-2AC5-468D-B897-47D42066FD03}" type="presParOf" srcId="{A7BC2B7C-6FEA-442D-AEBF-81AFD90B6FB0}" destId="{A57EADFB-FDE2-4D55-ABBD-0AF8AB7081B1}" srcOrd="4" destOrd="0" presId="urn:microsoft.com/office/officeart/2008/layout/VerticalCurvedList"/>
    <dgm:cxn modelId="{B8FBBAF2-71F6-49AF-B0E5-BA64DD152554}" type="presParOf" srcId="{A57EADFB-FDE2-4D55-ABBD-0AF8AB7081B1}" destId="{5FF8D61E-9870-40ED-AC31-CEE2F9C4DF16}" srcOrd="0" destOrd="0" presId="urn:microsoft.com/office/officeart/2008/layout/VerticalCurvedList"/>
    <dgm:cxn modelId="{2646AB02-D255-48A1-8EF9-F23D556064B0}" type="presParOf" srcId="{A7BC2B7C-6FEA-442D-AEBF-81AFD90B6FB0}" destId="{3BF241DE-F6EF-4C03-AB85-C060530D6941}" srcOrd="5" destOrd="0" presId="urn:microsoft.com/office/officeart/2008/layout/VerticalCurvedList"/>
    <dgm:cxn modelId="{1B3E8B12-A8D5-439F-B657-E114017F569C}" type="presParOf" srcId="{A7BC2B7C-6FEA-442D-AEBF-81AFD90B6FB0}" destId="{6C6E2EE9-AAB1-4AB5-B31D-6A46D665F8D8}" srcOrd="6" destOrd="0" presId="urn:microsoft.com/office/officeart/2008/layout/VerticalCurvedList"/>
    <dgm:cxn modelId="{1F64EA78-8337-46BE-B36B-0410C86C53EB}" type="presParOf" srcId="{6C6E2EE9-AAB1-4AB5-B31D-6A46D665F8D8}" destId="{3D12CC4A-7464-4950-B158-2D76C2AD9ED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07245F6-BC36-4D3C-97DF-1EB63419AF2E}"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A64183BD-2D03-4B13-99A0-5B98ACCCAAE1}">
      <dgm:prSet phldrT="[Text]" custT="1"/>
      <dgm:spPr/>
      <dgm:t>
        <a:bodyPr/>
        <a:lstStyle/>
        <a:p>
          <a:r>
            <a:rPr lang="en-US" sz="2400" b="1"/>
            <a:t>Review program services </a:t>
          </a:r>
        </a:p>
      </dgm:t>
      <dgm:extLst>
        <a:ext uri="{E40237B7-FDA0-4F09-8148-C483321AD2D9}">
          <dgm14:cNvPr xmlns:dgm14="http://schemas.microsoft.com/office/drawing/2010/diagram" id="0" name="" descr="Arrow 1: Review program services &#10;notes&#10;&#10;&#10;"/>
        </a:ext>
      </dgm:extLst>
    </dgm:pt>
    <dgm:pt modelId="{2A377C4A-6A33-46D4-AB2A-DA1DD358A570}" type="parTrans" cxnId="{002A4369-E113-46DA-B2AE-312D8B21DA11}">
      <dgm:prSet/>
      <dgm:spPr/>
      <dgm:t>
        <a:bodyPr/>
        <a:lstStyle/>
        <a:p>
          <a:endParaRPr lang="en-US"/>
        </a:p>
      </dgm:t>
    </dgm:pt>
    <dgm:pt modelId="{30B2A164-AD4C-465D-A381-565C2200CD06}" type="sibTrans" cxnId="{002A4369-E113-46DA-B2AE-312D8B21DA11}">
      <dgm:prSet/>
      <dgm:spPr/>
      <dgm:t>
        <a:bodyPr/>
        <a:lstStyle/>
        <a:p>
          <a:endParaRPr lang="en-US"/>
        </a:p>
      </dgm:t>
    </dgm:pt>
    <dgm:pt modelId="{C1FCE4AB-0728-475F-ADE6-6FC4A270AAEF}">
      <dgm:prSet phldrT="[Text]" custT="1"/>
      <dgm:spPr/>
      <dgm:t>
        <a:bodyPr/>
        <a:lstStyle/>
        <a:p>
          <a:r>
            <a:rPr lang="en-US" sz="2400" b="1"/>
            <a:t>Document referrals and services provided</a:t>
          </a:r>
        </a:p>
      </dgm:t>
      <dgm:extLst>
        <a:ext uri="{E40237B7-FDA0-4F09-8148-C483321AD2D9}">
          <dgm14:cNvPr xmlns:dgm14="http://schemas.microsoft.com/office/drawing/2010/diagram" id="0" name="" descr="&#10;Arrow 2: Document referrals and services provided&#10;notes&#10;&#10;&#10;"/>
        </a:ext>
      </dgm:extLst>
    </dgm:pt>
    <dgm:pt modelId="{E4260D55-8E2B-417E-9A8A-65DC007FA1A5}" type="parTrans" cxnId="{5028926E-7D87-46B8-A5D3-19A272AAA546}">
      <dgm:prSet/>
      <dgm:spPr/>
      <dgm:t>
        <a:bodyPr/>
        <a:lstStyle/>
        <a:p>
          <a:endParaRPr lang="en-US"/>
        </a:p>
      </dgm:t>
    </dgm:pt>
    <dgm:pt modelId="{1F7ABD33-32F5-4E5B-A86D-1B5460F6184A}" type="sibTrans" cxnId="{5028926E-7D87-46B8-A5D3-19A272AAA546}">
      <dgm:prSet/>
      <dgm:spPr/>
      <dgm:t>
        <a:bodyPr/>
        <a:lstStyle/>
        <a:p>
          <a:endParaRPr lang="en-US"/>
        </a:p>
      </dgm:t>
    </dgm:pt>
    <dgm:pt modelId="{D9D684C3-EC46-4587-B03D-00EDD2F3C231}">
      <dgm:prSet phldrT="[Text]" custT="1"/>
      <dgm:spPr/>
      <dgm:t>
        <a:bodyPr/>
        <a:lstStyle/>
        <a:p>
          <a:r>
            <a:rPr lang="en-US" sz="2400" b="1"/>
            <a:t>Document non-qualification criteria and intake notes</a:t>
          </a:r>
        </a:p>
      </dgm:t>
      <dgm:extLst>
        <a:ext uri="{E40237B7-FDA0-4F09-8148-C483321AD2D9}">
          <dgm14:cNvPr xmlns:dgm14="http://schemas.microsoft.com/office/drawing/2010/diagram" id="0" name="" descr="Arrow 3: Document non-qualification criteria and intake notes&#10;&#10;&#10;"/>
        </a:ext>
      </dgm:extLst>
    </dgm:pt>
    <dgm:pt modelId="{F5581F3B-3160-445E-AD34-83B0C87B1440}" type="parTrans" cxnId="{DB38808F-9F83-4804-BCA4-96266E0BA78E}">
      <dgm:prSet/>
      <dgm:spPr/>
      <dgm:t>
        <a:bodyPr/>
        <a:lstStyle/>
        <a:p>
          <a:endParaRPr lang="en-US"/>
        </a:p>
      </dgm:t>
    </dgm:pt>
    <dgm:pt modelId="{11E26B8F-9C89-4DCA-B3E8-A66450BDF554}" type="sibTrans" cxnId="{DB38808F-9F83-4804-BCA4-96266E0BA78E}">
      <dgm:prSet/>
      <dgm:spPr/>
      <dgm:t>
        <a:bodyPr/>
        <a:lstStyle/>
        <a:p>
          <a:endParaRPr lang="en-US"/>
        </a:p>
      </dgm:t>
    </dgm:pt>
    <dgm:pt modelId="{C1DA01C5-7A33-4BAC-B2E4-1B0C436283BE}" type="pres">
      <dgm:prSet presAssocID="{D07245F6-BC36-4D3C-97DF-1EB63419AF2E}" presName="Name0" presStyleCnt="0">
        <dgm:presLayoutVars>
          <dgm:chMax val="7"/>
          <dgm:chPref val="7"/>
          <dgm:dir/>
        </dgm:presLayoutVars>
      </dgm:prSet>
      <dgm:spPr/>
    </dgm:pt>
    <dgm:pt modelId="{A7BC2B7C-6FEA-442D-AEBF-81AFD90B6FB0}" type="pres">
      <dgm:prSet presAssocID="{D07245F6-BC36-4D3C-97DF-1EB63419AF2E}" presName="Name1" presStyleCnt="0"/>
      <dgm:spPr/>
    </dgm:pt>
    <dgm:pt modelId="{0DF318EF-9496-4563-A5B1-037A2DFE8657}" type="pres">
      <dgm:prSet presAssocID="{D07245F6-BC36-4D3C-97DF-1EB63419AF2E}" presName="cycle" presStyleCnt="0"/>
      <dgm:spPr/>
    </dgm:pt>
    <dgm:pt modelId="{060CE6FC-B2C7-40D8-A73D-706E76D83BA8}" type="pres">
      <dgm:prSet presAssocID="{D07245F6-BC36-4D3C-97DF-1EB63419AF2E}" presName="srcNode" presStyleLbl="node1" presStyleIdx="0" presStyleCnt="3"/>
      <dgm:spPr/>
    </dgm:pt>
    <dgm:pt modelId="{9AE584C4-CEEE-4983-B32D-17F54DB4322D}" type="pres">
      <dgm:prSet presAssocID="{D07245F6-BC36-4D3C-97DF-1EB63419AF2E}" presName="conn" presStyleLbl="parChTrans1D2" presStyleIdx="0" presStyleCnt="1"/>
      <dgm:spPr/>
    </dgm:pt>
    <dgm:pt modelId="{A28D01EE-08A6-42D2-B50E-B044796B901F}" type="pres">
      <dgm:prSet presAssocID="{D07245F6-BC36-4D3C-97DF-1EB63419AF2E}" presName="extraNode" presStyleLbl="node1" presStyleIdx="0" presStyleCnt="3"/>
      <dgm:spPr/>
    </dgm:pt>
    <dgm:pt modelId="{0A450D8C-4ACC-4D00-A71E-1E7324684C61}" type="pres">
      <dgm:prSet presAssocID="{D07245F6-BC36-4D3C-97DF-1EB63419AF2E}" presName="dstNode" presStyleLbl="node1" presStyleIdx="0" presStyleCnt="3"/>
      <dgm:spPr/>
    </dgm:pt>
    <dgm:pt modelId="{AA7B689C-EABE-41D4-B0EE-B931228A8631}" type="pres">
      <dgm:prSet presAssocID="{A64183BD-2D03-4B13-99A0-5B98ACCCAAE1}" presName="text_1" presStyleLbl="node1" presStyleIdx="0" presStyleCnt="3">
        <dgm:presLayoutVars>
          <dgm:bulletEnabled val="1"/>
        </dgm:presLayoutVars>
      </dgm:prSet>
      <dgm:spPr/>
    </dgm:pt>
    <dgm:pt modelId="{4B5F0046-49FD-4F31-AA80-727F86690D87}" type="pres">
      <dgm:prSet presAssocID="{A64183BD-2D03-4B13-99A0-5B98ACCCAAE1}" presName="accent_1" presStyleCnt="0"/>
      <dgm:spPr/>
    </dgm:pt>
    <dgm:pt modelId="{8BE17009-707D-4358-B69A-4591872C7F40}" type="pres">
      <dgm:prSet presAssocID="{A64183BD-2D03-4B13-99A0-5B98ACCCAAE1}" presName="accentRepeatNode" presStyleLbl="solidFgAcc1" presStyleIdx="0"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DEE39B46-50AE-44B6-98DC-9463162C2EE7}" type="pres">
      <dgm:prSet presAssocID="{C1FCE4AB-0728-475F-ADE6-6FC4A270AAEF}" presName="text_2" presStyleLbl="node1" presStyleIdx="1" presStyleCnt="3">
        <dgm:presLayoutVars>
          <dgm:bulletEnabled val="1"/>
        </dgm:presLayoutVars>
      </dgm:prSet>
      <dgm:spPr/>
    </dgm:pt>
    <dgm:pt modelId="{A57EADFB-FDE2-4D55-ABBD-0AF8AB7081B1}" type="pres">
      <dgm:prSet presAssocID="{C1FCE4AB-0728-475F-ADE6-6FC4A270AAEF}" presName="accent_2" presStyleCnt="0"/>
      <dgm:spPr/>
    </dgm:pt>
    <dgm:pt modelId="{5FF8D61E-9870-40ED-AC31-CEE2F9C4DF16}" type="pres">
      <dgm:prSet presAssocID="{C1FCE4AB-0728-475F-ADE6-6FC4A270AAEF}" presName="accentRepeatNode" presStyleLbl="solidFgAcc1" presStyleIdx="1"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3BF241DE-F6EF-4C03-AB85-C060530D6941}" type="pres">
      <dgm:prSet presAssocID="{D9D684C3-EC46-4587-B03D-00EDD2F3C231}" presName="text_3" presStyleLbl="node1" presStyleIdx="2" presStyleCnt="3">
        <dgm:presLayoutVars>
          <dgm:bulletEnabled val="1"/>
        </dgm:presLayoutVars>
      </dgm:prSet>
      <dgm:spPr/>
    </dgm:pt>
    <dgm:pt modelId="{6C6E2EE9-AAB1-4AB5-B31D-6A46D665F8D8}" type="pres">
      <dgm:prSet presAssocID="{D9D684C3-EC46-4587-B03D-00EDD2F3C231}" presName="accent_3" presStyleCnt="0"/>
      <dgm:spPr/>
    </dgm:pt>
    <dgm:pt modelId="{3D12CC4A-7464-4950-B158-2D76C2AD9ED2}" type="pres">
      <dgm:prSet presAssocID="{D9D684C3-EC46-4587-B03D-00EDD2F3C231}" presName="accentRepeatNode" presStyleLbl="solidFgAcc1" presStyleIdx="2" presStyleCnt="3"/>
      <dgm:spPr>
        <a:prstGeom prst="rightArrow">
          <a:avLst/>
        </a:prstGeom>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Lst>
  <dgm:cxnLst>
    <dgm:cxn modelId="{BCE1E70B-1FF6-46E6-B44A-FE71EC4B1F8D}" type="presOf" srcId="{A64183BD-2D03-4B13-99A0-5B98ACCCAAE1}" destId="{AA7B689C-EABE-41D4-B0EE-B931228A8631}" srcOrd="0" destOrd="0" presId="urn:microsoft.com/office/officeart/2008/layout/VerticalCurvedList"/>
    <dgm:cxn modelId="{002A4369-E113-46DA-B2AE-312D8B21DA11}" srcId="{D07245F6-BC36-4D3C-97DF-1EB63419AF2E}" destId="{A64183BD-2D03-4B13-99A0-5B98ACCCAAE1}" srcOrd="0" destOrd="0" parTransId="{2A377C4A-6A33-46D4-AB2A-DA1DD358A570}" sibTransId="{30B2A164-AD4C-465D-A381-565C2200CD06}"/>
    <dgm:cxn modelId="{51EF336C-1644-4B71-AB78-876E55923C3A}" type="presOf" srcId="{D9D684C3-EC46-4587-B03D-00EDD2F3C231}" destId="{3BF241DE-F6EF-4C03-AB85-C060530D6941}" srcOrd="0" destOrd="0" presId="urn:microsoft.com/office/officeart/2008/layout/VerticalCurvedList"/>
    <dgm:cxn modelId="{5028926E-7D87-46B8-A5D3-19A272AAA546}" srcId="{D07245F6-BC36-4D3C-97DF-1EB63419AF2E}" destId="{C1FCE4AB-0728-475F-ADE6-6FC4A270AAEF}" srcOrd="1" destOrd="0" parTransId="{E4260D55-8E2B-417E-9A8A-65DC007FA1A5}" sibTransId="{1F7ABD33-32F5-4E5B-A86D-1B5460F6184A}"/>
    <dgm:cxn modelId="{E1FE128E-6323-474A-9349-83409DC25978}" type="presOf" srcId="{C1FCE4AB-0728-475F-ADE6-6FC4A270AAEF}" destId="{DEE39B46-50AE-44B6-98DC-9463162C2EE7}" srcOrd="0" destOrd="0" presId="urn:microsoft.com/office/officeart/2008/layout/VerticalCurvedList"/>
    <dgm:cxn modelId="{DB38808F-9F83-4804-BCA4-96266E0BA78E}" srcId="{D07245F6-BC36-4D3C-97DF-1EB63419AF2E}" destId="{D9D684C3-EC46-4587-B03D-00EDD2F3C231}" srcOrd="2" destOrd="0" parTransId="{F5581F3B-3160-445E-AD34-83B0C87B1440}" sibTransId="{11E26B8F-9C89-4DCA-B3E8-A66450BDF554}"/>
    <dgm:cxn modelId="{40009FA6-E100-4FDA-82AF-39AD5ACD196C}" type="presOf" srcId="{30B2A164-AD4C-465D-A381-565C2200CD06}" destId="{9AE584C4-CEEE-4983-B32D-17F54DB4322D}" srcOrd="0" destOrd="0" presId="urn:microsoft.com/office/officeart/2008/layout/VerticalCurvedList"/>
    <dgm:cxn modelId="{34687FEA-679E-4D7D-B3C7-0F8D48B26716}" type="presOf" srcId="{D07245F6-BC36-4D3C-97DF-1EB63419AF2E}" destId="{C1DA01C5-7A33-4BAC-B2E4-1B0C436283BE}" srcOrd="0" destOrd="0" presId="urn:microsoft.com/office/officeart/2008/layout/VerticalCurvedList"/>
    <dgm:cxn modelId="{1D32CDF2-9E5A-4D4F-AC4C-963D6D838EB0}" type="presParOf" srcId="{C1DA01C5-7A33-4BAC-B2E4-1B0C436283BE}" destId="{A7BC2B7C-6FEA-442D-AEBF-81AFD90B6FB0}" srcOrd="0" destOrd="0" presId="urn:microsoft.com/office/officeart/2008/layout/VerticalCurvedList"/>
    <dgm:cxn modelId="{3F4B7BBE-F956-496F-9AFB-52E1F507C26F}" type="presParOf" srcId="{A7BC2B7C-6FEA-442D-AEBF-81AFD90B6FB0}" destId="{0DF318EF-9496-4563-A5B1-037A2DFE8657}" srcOrd="0" destOrd="0" presId="urn:microsoft.com/office/officeart/2008/layout/VerticalCurvedList"/>
    <dgm:cxn modelId="{4AA6C855-0575-47B8-AAEA-80AD4CE875A0}" type="presParOf" srcId="{0DF318EF-9496-4563-A5B1-037A2DFE8657}" destId="{060CE6FC-B2C7-40D8-A73D-706E76D83BA8}" srcOrd="0" destOrd="0" presId="urn:microsoft.com/office/officeart/2008/layout/VerticalCurvedList"/>
    <dgm:cxn modelId="{5D3AC151-C6AA-414F-9151-846CD17D232D}" type="presParOf" srcId="{0DF318EF-9496-4563-A5B1-037A2DFE8657}" destId="{9AE584C4-CEEE-4983-B32D-17F54DB4322D}" srcOrd="1" destOrd="0" presId="urn:microsoft.com/office/officeart/2008/layout/VerticalCurvedList"/>
    <dgm:cxn modelId="{17961190-B23E-4FA2-8863-F0CA20BBFF91}" type="presParOf" srcId="{0DF318EF-9496-4563-A5B1-037A2DFE8657}" destId="{A28D01EE-08A6-42D2-B50E-B044796B901F}" srcOrd="2" destOrd="0" presId="urn:microsoft.com/office/officeart/2008/layout/VerticalCurvedList"/>
    <dgm:cxn modelId="{7018679A-8970-4972-B137-4955AFA15F3A}" type="presParOf" srcId="{0DF318EF-9496-4563-A5B1-037A2DFE8657}" destId="{0A450D8C-4ACC-4D00-A71E-1E7324684C61}" srcOrd="3" destOrd="0" presId="urn:microsoft.com/office/officeart/2008/layout/VerticalCurvedList"/>
    <dgm:cxn modelId="{70C3F37E-04BA-4034-AB69-61CE90013BC0}" type="presParOf" srcId="{A7BC2B7C-6FEA-442D-AEBF-81AFD90B6FB0}" destId="{AA7B689C-EABE-41D4-B0EE-B931228A8631}" srcOrd="1" destOrd="0" presId="urn:microsoft.com/office/officeart/2008/layout/VerticalCurvedList"/>
    <dgm:cxn modelId="{8EB7E7D0-5AAD-4EFB-8948-0D5A069560C0}" type="presParOf" srcId="{A7BC2B7C-6FEA-442D-AEBF-81AFD90B6FB0}" destId="{4B5F0046-49FD-4F31-AA80-727F86690D87}" srcOrd="2" destOrd="0" presId="urn:microsoft.com/office/officeart/2008/layout/VerticalCurvedList"/>
    <dgm:cxn modelId="{241CF3A5-F251-4238-B2F4-0BF40DCDF528}" type="presParOf" srcId="{4B5F0046-49FD-4F31-AA80-727F86690D87}" destId="{8BE17009-707D-4358-B69A-4591872C7F40}" srcOrd="0" destOrd="0" presId="urn:microsoft.com/office/officeart/2008/layout/VerticalCurvedList"/>
    <dgm:cxn modelId="{6AD1EE56-DAD4-4659-BB87-51C1C5B3B550}" type="presParOf" srcId="{A7BC2B7C-6FEA-442D-AEBF-81AFD90B6FB0}" destId="{DEE39B46-50AE-44B6-98DC-9463162C2EE7}" srcOrd="3" destOrd="0" presId="urn:microsoft.com/office/officeart/2008/layout/VerticalCurvedList"/>
    <dgm:cxn modelId="{5B6511AC-2AC5-468D-B897-47D42066FD03}" type="presParOf" srcId="{A7BC2B7C-6FEA-442D-AEBF-81AFD90B6FB0}" destId="{A57EADFB-FDE2-4D55-ABBD-0AF8AB7081B1}" srcOrd="4" destOrd="0" presId="urn:microsoft.com/office/officeart/2008/layout/VerticalCurvedList"/>
    <dgm:cxn modelId="{B8FBBAF2-71F6-49AF-B0E5-BA64DD152554}" type="presParOf" srcId="{A57EADFB-FDE2-4D55-ABBD-0AF8AB7081B1}" destId="{5FF8D61E-9870-40ED-AC31-CEE2F9C4DF16}" srcOrd="0" destOrd="0" presId="urn:microsoft.com/office/officeart/2008/layout/VerticalCurvedList"/>
    <dgm:cxn modelId="{2646AB02-D255-48A1-8EF9-F23D556064B0}" type="presParOf" srcId="{A7BC2B7C-6FEA-442D-AEBF-81AFD90B6FB0}" destId="{3BF241DE-F6EF-4C03-AB85-C060530D6941}" srcOrd="5" destOrd="0" presId="urn:microsoft.com/office/officeart/2008/layout/VerticalCurvedList"/>
    <dgm:cxn modelId="{1B3E8B12-A8D5-439F-B657-E114017F569C}" type="presParOf" srcId="{A7BC2B7C-6FEA-442D-AEBF-81AFD90B6FB0}" destId="{6C6E2EE9-AAB1-4AB5-B31D-6A46D665F8D8}" srcOrd="6" destOrd="0" presId="urn:microsoft.com/office/officeart/2008/layout/VerticalCurvedList"/>
    <dgm:cxn modelId="{1F64EA78-8337-46BE-B36B-0410C86C53EB}" type="presParOf" srcId="{6C6E2EE9-AAB1-4AB5-B31D-6A46D665F8D8}" destId="{3D12CC4A-7464-4950-B158-2D76C2AD9ED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43DE5D9-8DE4-428B-9AC1-7C301670D56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4CF1C32-38CF-4479-9EF6-47AF76364572}">
      <dgm:prSet/>
      <dgm:spPr/>
      <dgm:t>
        <a:bodyPr/>
        <a:lstStyle/>
        <a:p>
          <a:r>
            <a:rPr lang="en-US" dirty="0"/>
            <a:t>Provides reminder of ESSER funding and how these resources can be used to address the unique academic, social, emotional, mental health, and related needs of Special Populations due to COVID-19. </a:t>
          </a:r>
        </a:p>
      </dgm:t>
    </dgm:pt>
    <dgm:pt modelId="{3B563B63-764D-4232-9845-3EACB8C44F31}" type="parTrans" cxnId="{A327D60C-E028-41AE-94EB-FE534A7EAD5D}">
      <dgm:prSet/>
      <dgm:spPr/>
      <dgm:t>
        <a:bodyPr/>
        <a:lstStyle/>
        <a:p>
          <a:endParaRPr lang="en-US"/>
        </a:p>
      </dgm:t>
    </dgm:pt>
    <dgm:pt modelId="{DFA59A01-9701-4B5F-BD14-20A482683A24}" type="sibTrans" cxnId="{A327D60C-E028-41AE-94EB-FE534A7EAD5D}">
      <dgm:prSet/>
      <dgm:spPr/>
      <dgm:t>
        <a:bodyPr/>
        <a:lstStyle/>
        <a:p>
          <a:endParaRPr lang="en-US"/>
        </a:p>
      </dgm:t>
    </dgm:pt>
    <dgm:pt modelId="{19483C4D-459D-4E01-B08F-D385DF635DC9}">
      <dgm:prSet/>
      <dgm:spPr/>
      <dgm:t>
        <a:bodyPr/>
        <a:lstStyle/>
        <a:p>
          <a:r>
            <a:rPr lang="en-US" dirty="0"/>
            <a:t>TEA HMAR Webpage Tools and Resources: https://tea.texas.gov/academics/special-student-populations/tools-and-resources</a:t>
          </a:r>
        </a:p>
      </dgm:t>
    </dgm:pt>
    <dgm:pt modelId="{03D45203-99CD-401B-AAEF-6CD7D34FCC6F}" type="parTrans" cxnId="{8D00B8EE-ACDA-417A-8A90-6FF729E3C268}">
      <dgm:prSet/>
      <dgm:spPr/>
      <dgm:t>
        <a:bodyPr/>
        <a:lstStyle/>
        <a:p>
          <a:endParaRPr lang="en-US"/>
        </a:p>
      </dgm:t>
    </dgm:pt>
    <dgm:pt modelId="{D1194039-D042-4227-90C4-677D3F19E8A4}" type="sibTrans" cxnId="{8D00B8EE-ACDA-417A-8A90-6FF729E3C268}">
      <dgm:prSet/>
      <dgm:spPr/>
      <dgm:t>
        <a:bodyPr/>
        <a:lstStyle/>
        <a:p>
          <a:endParaRPr lang="en-US"/>
        </a:p>
      </dgm:t>
    </dgm:pt>
    <dgm:pt modelId="{B3C68729-4CCC-431F-869B-400D68460CCF}" type="pres">
      <dgm:prSet presAssocID="{543DE5D9-8DE4-428B-9AC1-7C301670D561}" presName="linear" presStyleCnt="0">
        <dgm:presLayoutVars>
          <dgm:animLvl val="lvl"/>
          <dgm:resizeHandles val="exact"/>
        </dgm:presLayoutVars>
      </dgm:prSet>
      <dgm:spPr/>
    </dgm:pt>
    <dgm:pt modelId="{185C56FA-A2BE-428B-83AA-0005FFC38D91}" type="pres">
      <dgm:prSet presAssocID="{C4CF1C32-38CF-4479-9EF6-47AF76364572}" presName="parentText" presStyleLbl="node1" presStyleIdx="0" presStyleCnt="2">
        <dgm:presLayoutVars>
          <dgm:chMax val="0"/>
          <dgm:bulletEnabled val="1"/>
        </dgm:presLayoutVars>
      </dgm:prSet>
      <dgm:spPr/>
    </dgm:pt>
    <dgm:pt modelId="{3315BCFE-7A5D-45FF-B4F5-F70F6AC8A1D1}" type="pres">
      <dgm:prSet presAssocID="{DFA59A01-9701-4B5F-BD14-20A482683A24}" presName="spacer" presStyleCnt="0"/>
      <dgm:spPr/>
    </dgm:pt>
    <dgm:pt modelId="{3EDDFBD6-2403-408B-AEF4-E43CBC322588}" type="pres">
      <dgm:prSet presAssocID="{19483C4D-459D-4E01-B08F-D385DF635DC9}" presName="parentText" presStyleLbl="node1" presStyleIdx="1" presStyleCnt="2">
        <dgm:presLayoutVars>
          <dgm:chMax val="0"/>
          <dgm:bulletEnabled val="1"/>
        </dgm:presLayoutVars>
      </dgm:prSet>
      <dgm:spPr/>
    </dgm:pt>
  </dgm:ptLst>
  <dgm:cxnLst>
    <dgm:cxn modelId="{A327D60C-E028-41AE-94EB-FE534A7EAD5D}" srcId="{543DE5D9-8DE4-428B-9AC1-7C301670D561}" destId="{C4CF1C32-38CF-4479-9EF6-47AF76364572}" srcOrd="0" destOrd="0" parTransId="{3B563B63-764D-4232-9845-3EACB8C44F31}" sibTransId="{DFA59A01-9701-4B5F-BD14-20A482683A24}"/>
    <dgm:cxn modelId="{FA48F77E-6B08-4CD5-9A90-CF713C745E4D}" type="presOf" srcId="{543DE5D9-8DE4-428B-9AC1-7C301670D561}" destId="{B3C68729-4CCC-431F-869B-400D68460CCF}" srcOrd="0" destOrd="0" presId="urn:microsoft.com/office/officeart/2005/8/layout/vList2"/>
    <dgm:cxn modelId="{488931DE-931C-4BB2-ACBD-81FDFA3FA087}" type="presOf" srcId="{C4CF1C32-38CF-4479-9EF6-47AF76364572}" destId="{185C56FA-A2BE-428B-83AA-0005FFC38D91}" srcOrd="0" destOrd="0" presId="urn:microsoft.com/office/officeart/2005/8/layout/vList2"/>
    <dgm:cxn modelId="{8D00B8EE-ACDA-417A-8A90-6FF729E3C268}" srcId="{543DE5D9-8DE4-428B-9AC1-7C301670D561}" destId="{19483C4D-459D-4E01-B08F-D385DF635DC9}" srcOrd="1" destOrd="0" parTransId="{03D45203-99CD-401B-AAEF-6CD7D34FCC6F}" sibTransId="{D1194039-D042-4227-90C4-677D3F19E8A4}"/>
    <dgm:cxn modelId="{B9EC2CF3-C650-4241-A3C9-AB1B012745DE}" type="presOf" srcId="{19483C4D-459D-4E01-B08F-D385DF635DC9}" destId="{3EDDFBD6-2403-408B-AEF4-E43CBC322588}" srcOrd="0" destOrd="0" presId="urn:microsoft.com/office/officeart/2005/8/layout/vList2"/>
    <dgm:cxn modelId="{67177D3C-BEC2-406E-B1D1-BA299F6F4D0C}" type="presParOf" srcId="{B3C68729-4CCC-431F-869B-400D68460CCF}" destId="{185C56FA-A2BE-428B-83AA-0005FFC38D91}" srcOrd="0" destOrd="0" presId="urn:microsoft.com/office/officeart/2005/8/layout/vList2"/>
    <dgm:cxn modelId="{AEE628AF-9B45-466A-87C8-FB437B8F1A64}" type="presParOf" srcId="{B3C68729-4CCC-431F-869B-400D68460CCF}" destId="{3315BCFE-7A5D-45FF-B4F5-F70F6AC8A1D1}" srcOrd="1" destOrd="0" presId="urn:microsoft.com/office/officeart/2005/8/layout/vList2"/>
    <dgm:cxn modelId="{6F95EB82-490C-482E-AC88-16564B83AE22}" type="presParOf" srcId="{B3C68729-4CCC-431F-869B-400D68460CCF}" destId="{3EDDFBD6-2403-408B-AEF4-E43CBC322588}"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B51A630-7D0A-4F0A-BD39-78A073962403}" type="doc">
      <dgm:prSet loTypeId="urn:microsoft.com/office/officeart/2008/layout/VerticalCurvedList" loCatId="list" qsTypeId="urn:microsoft.com/office/officeart/2005/8/quickstyle/simple1" qsCatId="simple" csTypeId="urn:microsoft.com/office/officeart/2005/8/colors/accent2_1" csCatId="accent2" phldr="1"/>
      <dgm:spPr/>
      <dgm:t>
        <a:bodyPr/>
        <a:lstStyle/>
        <a:p>
          <a:endParaRPr lang="en-US"/>
        </a:p>
      </dgm:t>
    </dgm:pt>
    <dgm:pt modelId="{4CDCD70D-7B57-45D2-A8CE-212A9399B554}">
      <dgm:prSet phldrT="[Text]"/>
      <dgm:spPr/>
      <dgm:t>
        <a:bodyPr/>
        <a:lstStyle/>
        <a:p>
          <a:r>
            <a:rPr lang="en-US" sz="1600">
              <a:latin typeface="Arial"/>
              <a:cs typeface="Arial"/>
              <a:hlinkClick xmlns:r="http://schemas.openxmlformats.org/officeDocument/2006/relationships" r:id="rId1">
                <a:extLst>
                  <a:ext uri="{A12FA001-AC4F-418D-AE19-62706E023703}">
                    <ahyp:hlinkClr xmlns:ahyp="http://schemas.microsoft.com/office/drawing/2018/hyperlinkcolor" val="tx"/>
                  </a:ext>
                </a:extLst>
              </a:hlinkClick>
            </a:rPr>
            <a:t>Military Connected Students</a:t>
          </a:r>
          <a:endParaRPr lang="en-US" sz="1600">
            <a:latin typeface="Arial"/>
            <a:cs typeface="Arial"/>
          </a:endParaRPr>
        </a:p>
      </dgm:t>
      <dgm:extLst>
        <a:ext uri="{E40237B7-FDA0-4F09-8148-C483321AD2D9}">
          <dgm14:cNvPr xmlns:dgm14="http://schemas.microsoft.com/office/drawing/2010/diagram" id="0" name="" descr="Division emails: &#10;militaryconnectedstudents@tea.texas.gov; pregnancyrelatedservices@tea.texas.gov; fostercareliaison@tea.texas.gov; homelesseducation@tea.texas.gov; preventinghumantrafficking@tea.texas.gov; &#10;"/>
        </a:ext>
      </dgm:extLst>
    </dgm:pt>
    <dgm:pt modelId="{0A4693A6-7838-4C3D-9A89-27DBBBA064F9}" type="parTrans" cxnId="{9567ABA5-B133-4F07-98B5-982B5F00C1DB}">
      <dgm:prSet/>
      <dgm:spPr/>
      <dgm:t>
        <a:bodyPr/>
        <a:lstStyle/>
        <a:p>
          <a:endParaRPr lang="en-US"/>
        </a:p>
      </dgm:t>
    </dgm:pt>
    <dgm:pt modelId="{6A09474D-75E4-40CC-9659-0AEA77123BE4}" type="sibTrans" cxnId="{9567ABA5-B133-4F07-98B5-982B5F00C1DB}">
      <dgm:prSet/>
      <dgm:spPr/>
      <dgm:t>
        <a:bodyPr/>
        <a:lstStyle/>
        <a:p>
          <a:endParaRPr lang="en-US"/>
        </a:p>
      </dgm:t>
    </dgm:pt>
    <dgm:pt modelId="{2D42F30A-3945-4931-827E-DCEC05B19E77}">
      <dgm:prSet phldrT="[Text]"/>
      <dgm:spPr/>
      <dgm:t>
        <a:bodyPr/>
        <a:lstStyle/>
        <a:p>
          <a:r>
            <a:rPr lang="en-US" sz="1600">
              <a:latin typeface="Arial"/>
              <a:cs typeface="Arial"/>
              <a:hlinkClick xmlns:r="http://schemas.openxmlformats.org/officeDocument/2006/relationships" r:id="rId2">
                <a:extLst>
                  <a:ext uri="{A12FA001-AC4F-418D-AE19-62706E023703}">
                    <ahyp:hlinkClr xmlns:ahyp="http://schemas.microsoft.com/office/drawing/2018/hyperlinkcolor" val="tx"/>
                  </a:ext>
                </a:extLst>
              </a:hlinkClick>
            </a:rPr>
            <a:t>Pregnancy Related Services</a:t>
          </a:r>
          <a:endParaRPr lang="en-US" sz="1600">
            <a:latin typeface="Arial"/>
            <a:cs typeface="Arial"/>
          </a:endParaRPr>
        </a:p>
      </dgm:t>
    </dgm:pt>
    <dgm:pt modelId="{5F833521-5F6D-4AE3-A03D-06D4347E6A6E}" type="parTrans" cxnId="{03FA9C5D-FCD8-42EA-979C-E8B63F174E58}">
      <dgm:prSet/>
      <dgm:spPr/>
      <dgm:t>
        <a:bodyPr/>
        <a:lstStyle/>
        <a:p>
          <a:endParaRPr lang="en-US"/>
        </a:p>
      </dgm:t>
    </dgm:pt>
    <dgm:pt modelId="{384949AB-1239-48AF-91BB-E0F9722DFD5D}" type="sibTrans" cxnId="{03FA9C5D-FCD8-42EA-979C-E8B63F174E58}">
      <dgm:prSet/>
      <dgm:spPr/>
      <dgm:t>
        <a:bodyPr/>
        <a:lstStyle/>
        <a:p>
          <a:endParaRPr lang="en-US"/>
        </a:p>
      </dgm:t>
    </dgm:pt>
    <dgm:pt modelId="{D78253D2-F073-4CBF-BA82-0BEF8BB928A4}">
      <dgm:prSet phldrT="[Text]"/>
      <dgm:spPr/>
      <dgm:t>
        <a:bodyPr/>
        <a:lstStyle/>
        <a:p>
          <a:r>
            <a:rPr lang="en-US" sz="1600">
              <a:latin typeface="Arial"/>
              <a:cs typeface="Arial"/>
              <a:hlinkClick xmlns:r="http://schemas.openxmlformats.org/officeDocument/2006/relationships" r:id="rId3">
                <a:extLst>
                  <a:ext uri="{A12FA001-AC4F-418D-AE19-62706E023703}">
                    <ahyp:hlinkClr xmlns:ahyp="http://schemas.microsoft.com/office/drawing/2018/hyperlinkcolor" val="tx"/>
                  </a:ext>
                </a:extLst>
              </a:hlinkClick>
            </a:rPr>
            <a:t>Texas Education for Homeless Children and Youth (TEHCY) Program</a:t>
          </a:r>
          <a:endParaRPr lang="en-US" sz="1600">
            <a:latin typeface="Arial"/>
            <a:cs typeface="Arial"/>
          </a:endParaRPr>
        </a:p>
      </dgm:t>
    </dgm:pt>
    <dgm:pt modelId="{9CEDFC3D-4CB4-4ABC-94B9-117308BB5678}" type="parTrans" cxnId="{E06BBCF1-F088-4F5D-9D1D-B7F0AC8CC649}">
      <dgm:prSet/>
      <dgm:spPr/>
      <dgm:t>
        <a:bodyPr/>
        <a:lstStyle/>
        <a:p>
          <a:endParaRPr lang="en-US"/>
        </a:p>
      </dgm:t>
    </dgm:pt>
    <dgm:pt modelId="{E5202A5B-DF39-49FE-BB2F-9DE12714A4AC}" type="sibTrans" cxnId="{E06BBCF1-F088-4F5D-9D1D-B7F0AC8CC649}">
      <dgm:prSet/>
      <dgm:spPr/>
      <dgm:t>
        <a:bodyPr/>
        <a:lstStyle/>
        <a:p>
          <a:endParaRPr lang="en-US"/>
        </a:p>
      </dgm:t>
    </dgm:pt>
    <dgm:pt modelId="{74F44129-C785-4E12-BEC8-36B9DFCD7200}">
      <dgm:prSet phldrT="[Text]"/>
      <dgm:spPr/>
      <dgm:t>
        <a:bodyPr/>
        <a:lstStyle/>
        <a:p>
          <a:r>
            <a:rPr lang="en-US" sz="1600">
              <a:latin typeface="Arial"/>
              <a:cs typeface="Arial"/>
              <a:hlinkClick xmlns:r="http://schemas.openxmlformats.org/officeDocument/2006/relationships" r:id="rId4">
                <a:extLst>
                  <a:ext uri="{A12FA001-AC4F-418D-AE19-62706E023703}">
                    <ahyp:hlinkClr xmlns:ahyp="http://schemas.microsoft.com/office/drawing/2018/hyperlinkcolor" val="tx"/>
                  </a:ext>
                </a:extLst>
              </a:hlinkClick>
            </a:rPr>
            <a:t>Child Abuse and Neglect Awareness</a:t>
          </a:r>
          <a:endParaRPr lang="en-US" sz="1600">
            <a:latin typeface="Arial"/>
            <a:cs typeface="Arial"/>
          </a:endParaRPr>
        </a:p>
      </dgm:t>
    </dgm:pt>
    <dgm:pt modelId="{7A22A83B-BAB4-4502-8B03-102EF15680AB}" type="parTrans" cxnId="{C98FBDDC-03E9-4034-A2F4-B65E2847AD6C}">
      <dgm:prSet/>
      <dgm:spPr/>
      <dgm:t>
        <a:bodyPr/>
        <a:lstStyle/>
        <a:p>
          <a:endParaRPr lang="en-US"/>
        </a:p>
      </dgm:t>
    </dgm:pt>
    <dgm:pt modelId="{04049F0B-8AA9-463A-B0DE-DE72B14B4BB3}" type="sibTrans" cxnId="{C98FBDDC-03E9-4034-A2F4-B65E2847AD6C}">
      <dgm:prSet/>
      <dgm:spPr/>
      <dgm:t>
        <a:bodyPr/>
        <a:lstStyle/>
        <a:p>
          <a:endParaRPr lang="en-US"/>
        </a:p>
      </dgm:t>
    </dgm:pt>
    <dgm:pt modelId="{BCE27B16-5096-48F2-9DEA-13A534EA6EDA}">
      <dgm:prSet phldrT="[Text]"/>
      <dgm:spPr/>
      <dgm:t>
        <a:bodyPr/>
        <a:lstStyle/>
        <a:p>
          <a:r>
            <a:rPr lang="en-US" sz="1600">
              <a:latin typeface="Arial"/>
              <a:cs typeface="Arial"/>
              <a:hlinkClick xmlns:r="http://schemas.openxmlformats.org/officeDocument/2006/relationships" r:id="rId5">
                <a:extLst>
                  <a:ext uri="{A12FA001-AC4F-418D-AE19-62706E023703}">
                    <ahyp:hlinkClr xmlns:ahyp="http://schemas.microsoft.com/office/drawing/2018/hyperlinkcolor" val="tx"/>
                  </a:ext>
                </a:extLst>
              </a:hlinkClick>
            </a:rPr>
            <a:t>Foster Care and Student Success</a:t>
          </a:r>
          <a:endParaRPr lang="en-US" sz="1600">
            <a:latin typeface="Arial"/>
            <a:cs typeface="Arial"/>
          </a:endParaRPr>
        </a:p>
      </dgm:t>
    </dgm:pt>
    <dgm:pt modelId="{1A6C67F5-277B-48C0-89DF-E85A04C0C6B1}" type="parTrans" cxnId="{27BE0284-EA76-4F6F-8449-BEF98E5C1B56}">
      <dgm:prSet/>
      <dgm:spPr/>
      <dgm:t>
        <a:bodyPr/>
        <a:lstStyle/>
        <a:p>
          <a:endParaRPr lang="en-US"/>
        </a:p>
      </dgm:t>
    </dgm:pt>
    <dgm:pt modelId="{B518C00E-1BDB-4683-B929-2FF418CEC361}" type="sibTrans" cxnId="{27BE0284-EA76-4F6F-8449-BEF98E5C1B56}">
      <dgm:prSet/>
      <dgm:spPr/>
      <dgm:t>
        <a:bodyPr/>
        <a:lstStyle/>
        <a:p>
          <a:endParaRPr lang="en-US"/>
        </a:p>
      </dgm:t>
    </dgm:pt>
    <dgm:pt modelId="{5BC5319A-122F-462E-9905-D58A20C6CBC3}">
      <dgm:prSet phldrT="[Text]" custT="1"/>
      <dgm:spPr/>
      <dgm:t>
        <a:bodyPr/>
        <a:lstStyle/>
        <a:p>
          <a:r>
            <a:rPr lang="en-US" sz="1400">
              <a:hlinkClick xmlns:r="http://schemas.openxmlformats.org/officeDocument/2006/relationships" r:id="rId6"/>
            </a:rPr>
            <a:t>PregnancyRelatedServices@tea.texas.gov</a:t>
          </a:r>
          <a:endParaRPr lang="en-US" sz="1400">
            <a:latin typeface="Arial" panose="020B0604020202020204" pitchFamily="34" charset="0"/>
            <a:cs typeface="Arial" panose="020B0604020202020204" pitchFamily="34" charset="0"/>
          </a:endParaRPr>
        </a:p>
      </dgm:t>
    </dgm:pt>
    <dgm:pt modelId="{A5781B53-32D2-44E8-8304-97423796B438}" type="parTrans" cxnId="{C25CB3AA-8B01-4FBB-8482-1C47A9CA1960}">
      <dgm:prSet/>
      <dgm:spPr/>
      <dgm:t>
        <a:bodyPr/>
        <a:lstStyle/>
        <a:p>
          <a:endParaRPr lang="en-US"/>
        </a:p>
      </dgm:t>
    </dgm:pt>
    <dgm:pt modelId="{5D5DA5F3-B70D-49CE-94FE-DBDE8C5EE03F}" type="sibTrans" cxnId="{C25CB3AA-8B01-4FBB-8482-1C47A9CA1960}">
      <dgm:prSet/>
      <dgm:spPr/>
      <dgm:t>
        <a:bodyPr/>
        <a:lstStyle/>
        <a:p>
          <a:endParaRPr lang="en-US"/>
        </a:p>
      </dgm:t>
    </dgm:pt>
    <dgm:pt modelId="{0F075605-8AD2-4C94-9C06-1A4070E03ADB}">
      <dgm:prSet phldrT="[Text]" custT="1"/>
      <dgm:spPr/>
      <dgm:t>
        <a:bodyPr/>
        <a:lstStyle/>
        <a:p>
          <a:r>
            <a:rPr lang="en-US" sz="1400">
              <a:hlinkClick xmlns:r="http://schemas.openxmlformats.org/officeDocument/2006/relationships" r:id="rId7"/>
            </a:rPr>
            <a:t>FosterCareLiaison@tea.texas.gov</a:t>
          </a:r>
          <a:endParaRPr lang="en-US" sz="1400">
            <a:latin typeface="Arial" panose="020B0604020202020204" pitchFamily="34" charset="0"/>
            <a:cs typeface="Arial" panose="020B0604020202020204" pitchFamily="34" charset="0"/>
          </a:endParaRPr>
        </a:p>
      </dgm:t>
    </dgm:pt>
    <dgm:pt modelId="{929135AA-328E-4B62-80A1-898C7D6EA2BD}" type="parTrans" cxnId="{5A0B29EB-B698-48B7-BEF8-AB707A39D1F9}">
      <dgm:prSet/>
      <dgm:spPr/>
      <dgm:t>
        <a:bodyPr/>
        <a:lstStyle/>
        <a:p>
          <a:endParaRPr lang="en-US"/>
        </a:p>
      </dgm:t>
    </dgm:pt>
    <dgm:pt modelId="{CD13F37A-54BA-4467-8C43-24FC9ECD3000}" type="sibTrans" cxnId="{5A0B29EB-B698-48B7-BEF8-AB707A39D1F9}">
      <dgm:prSet/>
      <dgm:spPr/>
      <dgm:t>
        <a:bodyPr/>
        <a:lstStyle/>
        <a:p>
          <a:endParaRPr lang="en-US"/>
        </a:p>
      </dgm:t>
    </dgm:pt>
    <dgm:pt modelId="{D0EDAC03-DD71-4338-A79A-7448F9D75620}">
      <dgm:prSet phldrT="[Text]" custT="1"/>
      <dgm:spPr/>
      <dgm:t>
        <a:bodyPr/>
        <a:lstStyle/>
        <a:p>
          <a:r>
            <a:rPr lang="en-US" sz="1400">
              <a:hlinkClick xmlns:r="http://schemas.openxmlformats.org/officeDocument/2006/relationships" r:id="rId8"/>
            </a:rPr>
            <a:t>HomelessEducation@tea.texas.gov</a:t>
          </a:r>
          <a:endParaRPr lang="en-US" sz="1400">
            <a:latin typeface="Arial" panose="020B0604020202020204" pitchFamily="34" charset="0"/>
            <a:cs typeface="Arial" panose="020B0604020202020204" pitchFamily="34" charset="0"/>
          </a:endParaRPr>
        </a:p>
      </dgm:t>
    </dgm:pt>
    <dgm:pt modelId="{D03E29F1-922B-4750-A717-386BD5EE9971}" type="parTrans" cxnId="{ACE44760-DD65-4D7B-8077-94AC504EBD2A}">
      <dgm:prSet/>
      <dgm:spPr/>
      <dgm:t>
        <a:bodyPr/>
        <a:lstStyle/>
        <a:p>
          <a:endParaRPr lang="en-US"/>
        </a:p>
      </dgm:t>
    </dgm:pt>
    <dgm:pt modelId="{605F30E1-CDC0-44C5-A1D6-4549CDFA6E6B}" type="sibTrans" cxnId="{ACE44760-DD65-4D7B-8077-94AC504EBD2A}">
      <dgm:prSet/>
      <dgm:spPr/>
      <dgm:t>
        <a:bodyPr/>
        <a:lstStyle/>
        <a:p>
          <a:endParaRPr lang="en-US"/>
        </a:p>
      </dgm:t>
    </dgm:pt>
    <dgm:pt modelId="{18848A33-A0C1-4B54-BDC5-FDE3CC637616}">
      <dgm:prSet custT="1"/>
      <dgm:spPr/>
      <dgm:t>
        <a:bodyPr/>
        <a:lstStyle/>
        <a:p>
          <a:pPr rtl="0"/>
          <a:r>
            <a:rPr lang="en-US" sz="1400">
              <a:hlinkClick xmlns:r="http://schemas.openxmlformats.org/officeDocument/2006/relationships" r:id="rId9"/>
            </a:rPr>
            <a:t>PreventingHumanTrafficking@tea.texas.gov</a:t>
          </a:r>
          <a:r>
            <a:rPr lang="en-US" sz="1400">
              <a:latin typeface="Arial"/>
              <a:cs typeface="Arial"/>
              <a:hlinkClick xmlns:r="http://schemas.openxmlformats.org/officeDocument/2006/relationships" r:id="rId4">
                <a:extLst>
                  <a:ext uri="{A12FA001-AC4F-418D-AE19-62706E023703}">
                    <ahyp:hlinkClr xmlns:ahyp="http://schemas.microsoft.com/office/drawing/2018/hyperlinkcolor" val="tx"/>
                  </a:ext>
                </a:extLst>
              </a:hlinkClick>
            </a:rPr>
            <a:t> </a:t>
          </a:r>
          <a:endParaRPr lang="en-US" sz="1400">
            <a:latin typeface="Arial" panose="020B0604020202020204" pitchFamily="34" charset="0"/>
            <a:cs typeface="Arial" panose="020B0604020202020204" pitchFamily="34" charset="0"/>
          </a:endParaRPr>
        </a:p>
      </dgm:t>
    </dgm:pt>
    <dgm:pt modelId="{81D7E10B-FFB1-44AB-92AA-46B3960DB718}" type="parTrans" cxnId="{09D2CE34-ADD9-497F-8B59-7A4912F4E3A6}">
      <dgm:prSet/>
      <dgm:spPr/>
      <dgm:t>
        <a:bodyPr/>
        <a:lstStyle/>
        <a:p>
          <a:endParaRPr lang="en-US"/>
        </a:p>
      </dgm:t>
    </dgm:pt>
    <dgm:pt modelId="{FEC4109A-ADF2-4D22-96F0-E1BD15650226}" type="sibTrans" cxnId="{09D2CE34-ADD9-497F-8B59-7A4912F4E3A6}">
      <dgm:prSet/>
      <dgm:spPr/>
      <dgm:t>
        <a:bodyPr/>
        <a:lstStyle/>
        <a:p>
          <a:endParaRPr lang="en-US"/>
        </a:p>
      </dgm:t>
    </dgm:pt>
    <dgm:pt modelId="{277DFC87-C5E6-414B-A2AE-FAB9D4CF0DC8}">
      <dgm:prSet phldrT="[Text]" custT="1"/>
      <dgm:spPr/>
      <dgm:t>
        <a:bodyPr/>
        <a:lstStyle/>
        <a:p>
          <a:r>
            <a:rPr lang="en-US" sz="1400">
              <a:hlinkClick xmlns:r="http://schemas.openxmlformats.org/officeDocument/2006/relationships" r:id="rId10"/>
            </a:rPr>
            <a:t>MilitaryConnectedStudents@tea.texas.gov</a:t>
          </a:r>
          <a:endParaRPr lang="en-US" sz="1400">
            <a:latin typeface="Arial" panose="020B0604020202020204" pitchFamily="34" charset="0"/>
            <a:cs typeface="Arial" panose="020B0604020202020204" pitchFamily="34" charset="0"/>
          </a:endParaRPr>
        </a:p>
      </dgm:t>
    </dgm:pt>
    <dgm:pt modelId="{2D1491BA-B46F-4EB7-934D-62F1726CAA57}" type="parTrans" cxnId="{8E8E532E-DAEC-40B9-A21E-6DBC0998AA90}">
      <dgm:prSet/>
      <dgm:spPr/>
      <dgm:t>
        <a:bodyPr/>
        <a:lstStyle/>
        <a:p>
          <a:endParaRPr lang="en-US"/>
        </a:p>
      </dgm:t>
    </dgm:pt>
    <dgm:pt modelId="{11C93E2D-6310-4DC6-B65B-D23BC7CD221C}" type="sibTrans" cxnId="{8E8E532E-DAEC-40B9-A21E-6DBC0998AA90}">
      <dgm:prSet/>
      <dgm:spPr/>
      <dgm:t>
        <a:bodyPr/>
        <a:lstStyle/>
        <a:p>
          <a:endParaRPr lang="en-US"/>
        </a:p>
      </dgm:t>
    </dgm:pt>
    <dgm:pt modelId="{A11A4AF0-F36D-43EA-A8A1-575BBD460381}" type="pres">
      <dgm:prSet presAssocID="{BB51A630-7D0A-4F0A-BD39-78A073962403}" presName="Name0" presStyleCnt="0">
        <dgm:presLayoutVars>
          <dgm:chMax val="7"/>
          <dgm:chPref val="7"/>
          <dgm:dir/>
        </dgm:presLayoutVars>
      </dgm:prSet>
      <dgm:spPr/>
    </dgm:pt>
    <dgm:pt modelId="{8483F65F-DB77-4D73-B544-001CEAEBE75E}" type="pres">
      <dgm:prSet presAssocID="{BB51A630-7D0A-4F0A-BD39-78A073962403}" presName="Name1" presStyleCnt="0"/>
      <dgm:spPr/>
    </dgm:pt>
    <dgm:pt modelId="{EFD3CB7C-56AA-4E09-BE1C-81EF939DF1E7}" type="pres">
      <dgm:prSet presAssocID="{BB51A630-7D0A-4F0A-BD39-78A073962403}" presName="cycle" presStyleCnt="0"/>
      <dgm:spPr/>
    </dgm:pt>
    <dgm:pt modelId="{41B61A4B-C95D-4207-89DA-98697180A9E5}" type="pres">
      <dgm:prSet presAssocID="{BB51A630-7D0A-4F0A-BD39-78A073962403}" presName="srcNode" presStyleLbl="node1" presStyleIdx="0" presStyleCnt="5"/>
      <dgm:spPr/>
    </dgm:pt>
    <dgm:pt modelId="{5C355B8A-D215-486E-896C-FA3B38A28804}" type="pres">
      <dgm:prSet presAssocID="{BB51A630-7D0A-4F0A-BD39-78A073962403}" presName="conn" presStyleLbl="parChTrans1D2" presStyleIdx="0" presStyleCnt="1"/>
      <dgm:spPr/>
    </dgm:pt>
    <dgm:pt modelId="{D849E7BD-ADEF-4DD4-9147-0A7EC4E1C09D}" type="pres">
      <dgm:prSet presAssocID="{BB51A630-7D0A-4F0A-BD39-78A073962403}" presName="extraNode" presStyleLbl="node1" presStyleIdx="0" presStyleCnt="5"/>
      <dgm:spPr/>
    </dgm:pt>
    <dgm:pt modelId="{85CD465E-E903-49DD-B200-2FDA98AB54E3}" type="pres">
      <dgm:prSet presAssocID="{BB51A630-7D0A-4F0A-BD39-78A073962403}" presName="dstNode" presStyleLbl="node1" presStyleIdx="0" presStyleCnt="5"/>
      <dgm:spPr/>
    </dgm:pt>
    <dgm:pt modelId="{EE7C903E-7C43-4A34-AD3B-37DF2941E7D2}" type="pres">
      <dgm:prSet presAssocID="{4CDCD70D-7B57-45D2-A8CE-212A9399B554}" presName="text_1" presStyleLbl="node1" presStyleIdx="0" presStyleCnt="5">
        <dgm:presLayoutVars>
          <dgm:bulletEnabled val="1"/>
        </dgm:presLayoutVars>
      </dgm:prSet>
      <dgm:spPr/>
    </dgm:pt>
    <dgm:pt modelId="{39052B33-9B63-4FBB-8F14-2E05F0C74A35}" type="pres">
      <dgm:prSet presAssocID="{4CDCD70D-7B57-45D2-A8CE-212A9399B554}" presName="accent_1" presStyleCnt="0"/>
      <dgm:spPr/>
    </dgm:pt>
    <dgm:pt modelId="{ED71E7F0-0B98-4143-BC1E-AD02716ED522}" type="pres">
      <dgm:prSet presAssocID="{4CDCD70D-7B57-45D2-A8CE-212A9399B554}" presName="accentRepeatNode" presStyleLbl="solidFgAcc1" presStyleIdx="0" presStyleCnt="5" custLinFactNeighborX="-5421" custLinFactNeighborY="11352"/>
      <dgm:spPr/>
    </dgm:pt>
    <dgm:pt modelId="{1A354A5E-5F17-432D-8FE6-7CF75C8ABFE7}" type="pres">
      <dgm:prSet presAssocID="{2D42F30A-3945-4931-827E-DCEC05B19E77}" presName="text_2" presStyleLbl="node1" presStyleIdx="1" presStyleCnt="5">
        <dgm:presLayoutVars>
          <dgm:bulletEnabled val="1"/>
        </dgm:presLayoutVars>
      </dgm:prSet>
      <dgm:spPr/>
    </dgm:pt>
    <dgm:pt modelId="{6D1EA4BE-BF2A-410A-81FF-AD851E2FF24E}" type="pres">
      <dgm:prSet presAssocID="{2D42F30A-3945-4931-827E-DCEC05B19E77}" presName="accent_2" presStyleCnt="0"/>
      <dgm:spPr/>
    </dgm:pt>
    <dgm:pt modelId="{2D03A0AC-293C-4738-93BD-082C5878C478}" type="pres">
      <dgm:prSet presAssocID="{2D42F30A-3945-4931-827E-DCEC05B19E77}" presName="accentRepeatNode" presStyleLbl="solidFgAcc1" presStyleIdx="1" presStyleCnt="5"/>
      <dgm:spPr/>
    </dgm:pt>
    <dgm:pt modelId="{C1375177-2760-4B7D-A988-E4A7D68FBABB}" type="pres">
      <dgm:prSet presAssocID="{BCE27B16-5096-48F2-9DEA-13A534EA6EDA}" presName="text_3" presStyleLbl="node1" presStyleIdx="2" presStyleCnt="5">
        <dgm:presLayoutVars>
          <dgm:bulletEnabled val="1"/>
        </dgm:presLayoutVars>
      </dgm:prSet>
      <dgm:spPr/>
    </dgm:pt>
    <dgm:pt modelId="{91CFA882-23D5-41BA-9F9C-69B85F76FB53}" type="pres">
      <dgm:prSet presAssocID="{BCE27B16-5096-48F2-9DEA-13A534EA6EDA}" presName="accent_3" presStyleCnt="0"/>
      <dgm:spPr/>
    </dgm:pt>
    <dgm:pt modelId="{8D7FA938-23A9-4601-A03F-E5110C34869D}" type="pres">
      <dgm:prSet presAssocID="{BCE27B16-5096-48F2-9DEA-13A534EA6EDA}" presName="accentRepeatNode" presStyleLbl="solidFgAcc1" presStyleIdx="2" presStyleCnt="5"/>
      <dgm:spPr/>
    </dgm:pt>
    <dgm:pt modelId="{06702711-303C-40E4-941F-16288860D5CF}" type="pres">
      <dgm:prSet presAssocID="{D78253D2-F073-4CBF-BA82-0BEF8BB928A4}" presName="text_4" presStyleLbl="node1" presStyleIdx="3" presStyleCnt="5">
        <dgm:presLayoutVars>
          <dgm:bulletEnabled val="1"/>
        </dgm:presLayoutVars>
      </dgm:prSet>
      <dgm:spPr/>
    </dgm:pt>
    <dgm:pt modelId="{309BB1B3-D9E5-4043-B4D7-40B0C34B14A9}" type="pres">
      <dgm:prSet presAssocID="{D78253D2-F073-4CBF-BA82-0BEF8BB928A4}" presName="accent_4" presStyleCnt="0"/>
      <dgm:spPr/>
    </dgm:pt>
    <dgm:pt modelId="{BD8C265F-1A38-47AF-8A1C-09754E58FDEB}" type="pres">
      <dgm:prSet presAssocID="{D78253D2-F073-4CBF-BA82-0BEF8BB928A4}" presName="accentRepeatNode" presStyleLbl="solidFgAcc1" presStyleIdx="3" presStyleCnt="5"/>
      <dgm:spPr/>
    </dgm:pt>
    <dgm:pt modelId="{D054A985-56C9-45DC-B87A-0BD635841BB4}" type="pres">
      <dgm:prSet presAssocID="{74F44129-C785-4E12-BEC8-36B9DFCD7200}" presName="text_5" presStyleLbl="node1" presStyleIdx="4" presStyleCnt="5">
        <dgm:presLayoutVars>
          <dgm:bulletEnabled val="1"/>
        </dgm:presLayoutVars>
      </dgm:prSet>
      <dgm:spPr/>
    </dgm:pt>
    <dgm:pt modelId="{981E151B-5313-4CB6-9E15-0C8D30F7F317}" type="pres">
      <dgm:prSet presAssocID="{74F44129-C785-4E12-BEC8-36B9DFCD7200}" presName="accent_5" presStyleCnt="0"/>
      <dgm:spPr/>
    </dgm:pt>
    <dgm:pt modelId="{DC056E3F-2CA8-42BF-8EB5-B405D7A61920}" type="pres">
      <dgm:prSet presAssocID="{74F44129-C785-4E12-BEC8-36B9DFCD7200}" presName="accentRepeatNode" presStyleLbl="solidFgAcc1" presStyleIdx="4" presStyleCnt="5"/>
      <dgm:spPr/>
    </dgm:pt>
  </dgm:ptLst>
  <dgm:cxnLst>
    <dgm:cxn modelId="{8E8E532E-DAEC-40B9-A21E-6DBC0998AA90}" srcId="{4CDCD70D-7B57-45D2-A8CE-212A9399B554}" destId="{277DFC87-C5E6-414B-A2AE-FAB9D4CF0DC8}" srcOrd="0" destOrd="0" parTransId="{2D1491BA-B46F-4EB7-934D-62F1726CAA57}" sibTransId="{11C93E2D-6310-4DC6-B65B-D23BC7CD221C}"/>
    <dgm:cxn modelId="{09D2CE34-ADD9-497F-8B59-7A4912F4E3A6}" srcId="{74F44129-C785-4E12-BEC8-36B9DFCD7200}" destId="{18848A33-A0C1-4B54-BDC5-FDE3CC637616}" srcOrd="0" destOrd="0" parTransId="{81D7E10B-FFB1-44AB-92AA-46B3960DB718}" sibTransId="{FEC4109A-ADF2-4D22-96F0-E1BD15650226}"/>
    <dgm:cxn modelId="{A14DA95C-1146-4BEE-B6D6-788529E8DE90}" type="presOf" srcId="{4CDCD70D-7B57-45D2-A8CE-212A9399B554}" destId="{EE7C903E-7C43-4A34-AD3B-37DF2941E7D2}" srcOrd="0" destOrd="0" presId="urn:microsoft.com/office/officeart/2008/layout/VerticalCurvedList"/>
    <dgm:cxn modelId="{03FA9C5D-FCD8-42EA-979C-E8B63F174E58}" srcId="{BB51A630-7D0A-4F0A-BD39-78A073962403}" destId="{2D42F30A-3945-4931-827E-DCEC05B19E77}" srcOrd="1" destOrd="0" parTransId="{5F833521-5F6D-4AE3-A03D-06D4347E6A6E}" sibTransId="{384949AB-1239-48AF-91BB-E0F9722DFD5D}"/>
    <dgm:cxn modelId="{ACE44760-DD65-4D7B-8077-94AC504EBD2A}" srcId="{D78253D2-F073-4CBF-BA82-0BEF8BB928A4}" destId="{D0EDAC03-DD71-4338-A79A-7448F9D75620}" srcOrd="0" destOrd="0" parTransId="{D03E29F1-922B-4750-A717-386BD5EE9971}" sibTransId="{605F30E1-CDC0-44C5-A1D6-4549CDFA6E6B}"/>
    <dgm:cxn modelId="{513D997B-C479-4A5C-981D-40B98C682454}" type="presOf" srcId="{D78253D2-F073-4CBF-BA82-0BEF8BB928A4}" destId="{06702711-303C-40E4-941F-16288860D5CF}" srcOrd="0" destOrd="0" presId="urn:microsoft.com/office/officeart/2008/layout/VerticalCurvedList"/>
    <dgm:cxn modelId="{27BE0284-EA76-4F6F-8449-BEF98E5C1B56}" srcId="{BB51A630-7D0A-4F0A-BD39-78A073962403}" destId="{BCE27B16-5096-48F2-9DEA-13A534EA6EDA}" srcOrd="2" destOrd="0" parTransId="{1A6C67F5-277B-48C0-89DF-E85A04C0C6B1}" sibTransId="{B518C00E-1BDB-4683-B929-2FF418CEC361}"/>
    <dgm:cxn modelId="{5D270C95-F660-42E5-B234-5300A03E8D5E}" type="presOf" srcId="{74F44129-C785-4E12-BEC8-36B9DFCD7200}" destId="{D054A985-56C9-45DC-B87A-0BD635841BB4}" srcOrd="0" destOrd="0" presId="urn:microsoft.com/office/officeart/2008/layout/VerticalCurvedList"/>
    <dgm:cxn modelId="{AC7961A1-AFCB-4E8D-B9B8-79324FD20EB2}" type="presOf" srcId="{2D42F30A-3945-4931-827E-DCEC05B19E77}" destId="{1A354A5E-5F17-432D-8FE6-7CF75C8ABFE7}" srcOrd="0" destOrd="0" presId="urn:microsoft.com/office/officeart/2008/layout/VerticalCurvedList"/>
    <dgm:cxn modelId="{9567ABA5-B133-4F07-98B5-982B5F00C1DB}" srcId="{BB51A630-7D0A-4F0A-BD39-78A073962403}" destId="{4CDCD70D-7B57-45D2-A8CE-212A9399B554}" srcOrd="0" destOrd="0" parTransId="{0A4693A6-7838-4C3D-9A89-27DBBBA064F9}" sibTransId="{6A09474D-75E4-40CC-9659-0AEA77123BE4}"/>
    <dgm:cxn modelId="{C25CB3AA-8B01-4FBB-8482-1C47A9CA1960}" srcId="{2D42F30A-3945-4931-827E-DCEC05B19E77}" destId="{5BC5319A-122F-462E-9905-D58A20C6CBC3}" srcOrd="0" destOrd="0" parTransId="{A5781B53-32D2-44E8-8304-97423796B438}" sibTransId="{5D5DA5F3-B70D-49CE-94FE-DBDE8C5EE03F}"/>
    <dgm:cxn modelId="{2B5A9BBC-4347-46E1-9EF6-41698B804CB2}" type="presOf" srcId="{18848A33-A0C1-4B54-BDC5-FDE3CC637616}" destId="{D054A985-56C9-45DC-B87A-0BD635841BB4}" srcOrd="0" destOrd="1" presId="urn:microsoft.com/office/officeart/2008/layout/VerticalCurvedList"/>
    <dgm:cxn modelId="{710E69C1-4B4A-40F5-957F-1E5DEA9C510A}" type="presOf" srcId="{BCE27B16-5096-48F2-9DEA-13A534EA6EDA}" destId="{C1375177-2760-4B7D-A988-E4A7D68FBABB}" srcOrd="0" destOrd="0" presId="urn:microsoft.com/office/officeart/2008/layout/VerticalCurvedList"/>
    <dgm:cxn modelId="{4C5D31D7-0277-4280-9690-2148FC235DA6}" type="presOf" srcId="{D0EDAC03-DD71-4338-A79A-7448F9D75620}" destId="{06702711-303C-40E4-941F-16288860D5CF}" srcOrd="0" destOrd="1" presId="urn:microsoft.com/office/officeart/2008/layout/VerticalCurvedList"/>
    <dgm:cxn modelId="{A03F37DA-3273-4DA6-9700-69D880636259}" type="presOf" srcId="{BB51A630-7D0A-4F0A-BD39-78A073962403}" destId="{A11A4AF0-F36D-43EA-A8A1-575BBD460381}" srcOrd="0" destOrd="0" presId="urn:microsoft.com/office/officeart/2008/layout/VerticalCurvedList"/>
    <dgm:cxn modelId="{C98FBDDC-03E9-4034-A2F4-B65E2847AD6C}" srcId="{BB51A630-7D0A-4F0A-BD39-78A073962403}" destId="{74F44129-C785-4E12-BEC8-36B9DFCD7200}" srcOrd="4" destOrd="0" parTransId="{7A22A83B-BAB4-4502-8B03-102EF15680AB}" sibTransId="{04049F0B-8AA9-463A-B0DE-DE72B14B4BB3}"/>
    <dgm:cxn modelId="{8A8B60DE-7590-41D1-AB62-70EEFAFCB130}" type="presOf" srcId="{5BC5319A-122F-462E-9905-D58A20C6CBC3}" destId="{1A354A5E-5F17-432D-8FE6-7CF75C8ABFE7}" srcOrd="0" destOrd="1" presId="urn:microsoft.com/office/officeart/2008/layout/VerticalCurvedList"/>
    <dgm:cxn modelId="{04D389E0-3207-4350-B27B-896C5246A35A}" type="presOf" srcId="{277DFC87-C5E6-414B-A2AE-FAB9D4CF0DC8}" destId="{EE7C903E-7C43-4A34-AD3B-37DF2941E7D2}" srcOrd="0" destOrd="1" presId="urn:microsoft.com/office/officeart/2008/layout/VerticalCurvedList"/>
    <dgm:cxn modelId="{5A0B29EB-B698-48B7-BEF8-AB707A39D1F9}" srcId="{BCE27B16-5096-48F2-9DEA-13A534EA6EDA}" destId="{0F075605-8AD2-4C94-9C06-1A4070E03ADB}" srcOrd="0" destOrd="0" parTransId="{929135AA-328E-4B62-80A1-898C7D6EA2BD}" sibTransId="{CD13F37A-54BA-4467-8C43-24FC9ECD3000}"/>
    <dgm:cxn modelId="{E06BBCF1-F088-4F5D-9D1D-B7F0AC8CC649}" srcId="{BB51A630-7D0A-4F0A-BD39-78A073962403}" destId="{D78253D2-F073-4CBF-BA82-0BEF8BB928A4}" srcOrd="3" destOrd="0" parTransId="{9CEDFC3D-4CB4-4ABC-94B9-117308BB5678}" sibTransId="{E5202A5B-DF39-49FE-BB2F-9DE12714A4AC}"/>
    <dgm:cxn modelId="{4D94C3F4-4B70-4BCB-BCB2-310856C16A79}" type="presOf" srcId="{0F075605-8AD2-4C94-9C06-1A4070E03ADB}" destId="{C1375177-2760-4B7D-A988-E4A7D68FBABB}" srcOrd="0" destOrd="1" presId="urn:microsoft.com/office/officeart/2008/layout/VerticalCurvedList"/>
    <dgm:cxn modelId="{4C3AFAF4-BC05-4F1B-921C-C7555C0406E2}" type="presOf" srcId="{11C93E2D-6310-4DC6-B65B-D23BC7CD221C}" destId="{5C355B8A-D215-486E-896C-FA3B38A28804}" srcOrd="0" destOrd="0" presId="urn:microsoft.com/office/officeart/2008/layout/VerticalCurvedList"/>
    <dgm:cxn modelId="{DBE97A8D-8A63-4438-8465-885E3945FBE0}" type="presParOf" srcId="{A11A4AF0-F36D-43EA-A8A1-575BBD460381}" destId="{8483F65F-DB77-4D73-B544-001CEAEBE75E}" srcOrd="0" destOrd="0" presId="urn:microsoft.com/office/officeart/2008/layout/VerticalCurvedList"/>
    <dgm:cxn modelId="{BD221024-712C-4330-9DD9-4F349C2EF343}" type="presParOf" srcId="{8483F65F-DB77-4D73-B544-001CEAEBE75E}" destId="{EFD3CB7C-56AA-4E09-BE1C-81EF939DF1E7}" srcOrd="0" destOrd="0" presId="urn:microsoft.com/office/officeart/2008/layout/VerticalCurvedList"/>
    <dgm:cxn modelId="{F7419A35-8977-4AF9-AABE-ADB903BAA60B}" type="presParOf" srcId="{EFD3CB7C-56AA-4E09-BE1C-81EF939DF1E7}" destId="{41B61A4B-C95D-4207-89DA-98697180A9E5}" srcOrd="0" destOrd="0" presId="urn:microsoft.com/office/officeart/2008/layout/VerticalCurvedList"/>
    <dgm:cxn modelId="{CC8A135A-8B33-4B72-A4EB-C58CFF4E982A}" type="presParOf" srcId="{EFD3CB7C-56AA-4E09-BE1C-81EF939DF1E7}" destId="{5C355B8A-D215-486E-896C-FA3B38A28804}" srcOrd="1" destOrd="0" presId="urn:microsoft.com/office/officeart/2008/layout/VerticalCurvedList"/>
    <dgm:cxn modelId="{86F16E4C-8223-4244-B29C-452ED42437C4}" type="presParOf" srcId="{EFD3CB7C-56AA-4E09-BE1C-81EF939DF1E7}" destId="{D849E7BD-ADEF-4DD4-9147-0A7EC4E1C09D}" srcOrd="2" destOrd="0" presId="urn:microsoft.com/office/officeart/2008/layout/VerticalCurvedList"/>
    <dgm:cxn modelId="{76DA7AEA-0354-4DA3-9122-295EBB56B3D2}" type="presParOf" srcId="{EFD3CB7C-56AA-4E09-BE1C-81EF939DF1E7}" destId="{85CD465E-E903-49DD-B200-2FDA98AB54E3}" srcOrd="3" destOrd="0" presId="urn:microsoft.com/office/officeart/2008/layout/VerticalCurvedList"/>
    <dgm:cxn modelId="{EEDED493-4601-4029-8D99-AEDC45888C92}" type="presParOf" srcId="{8483F65F-DB77-4D73-B544-001CEAEBE75E}" destId="{EE7C903E-7C43-4A34-AD3B-37DF2941E7D2}" srcOrd="1" destOrd="0" presId="urn:microsoft.com/office/officeart/2008/layout/VerticalCurvedList"/>
    <dgm:cxn modelId="{0468CC7A-2A1B-4B85-89C0-CCA4D561A7BF}" type="presParOf" srcId="{8483F65F-DB77-4D73-B544-001CEAEBE75E}" destId="{39052B33-9B63-4FBB-8F14-2E05F0C74A35}" srcOrd="2" destOrd="0" presId="urn:microsoft.com/office/officeart/2008/layout/VerticalCurvedList"/>
    <dgm:cxn modelId="{E1C73543-F002-48DC-9EF2-5D27EA6382A0}" type="presParOf" srcId="{39052B33-9B63-4FBB-8F14-2E05F0C74A35}" destId="{ED71E7F0-0B98-4143-BC1E-AD02716ED522}" srcOrd="0" destOrd="0" presId="urn:microsoft.com/office/officeart/2008/layout/VerticalCurvedList"/>
    <dgm:cxn modelId="{37F3B87B-D3F8-471A-92D6-843FB9B3C049}" type="presParOf" srcId="{8483F65F-DB77-4D73-B544-001CEAEBE75E}" destId="{1A354A5E-5F17-432D-8FE6-7CF75C8ABFE7}" srcOrd="3" destOrd="0" presId="urn:microsoft.com/office/officeart/2008/layout/VerticalCurvedList"/>
    <dgm:cxn modelId="{7858F693-A550-4DA9-A84E-C9AF7AA16FA3}" type="presParOf" srcId="{8483F65F-DB77-4D73-B544-001CEAEBE75E}" destId="{6D1EA4BE-BF2A-410A-81FF-AD851E2FF24E}" srcOrd="4" destOrd="0" presId="urn:microsoft.com/office/officeart/2008/layout/VerticalCurvedList"/>
    <dgm:cxn modelId="{8FCC1741-AA88-41DD-BE28-06B0F844A7D7}" type="presParOf" srcId="{6D1EA4BE-BF2A-410A-81FF-AD851E2FF24E}" destId="{2D03A0AC-293C-4738-93BD-082C5878C478}" srcOrd="0" destOrd="0" presId="urn:microsoft.com/office/officeart/2008/layout/VerticalCurvedList"/>
    <dgm:cxn modelId="{015D0136-E644-4968-A067-9994FF70D485}" type="presParOf" srcId="{8483F65F-DB77-4D73-B544-001CEAEBE75E}" destId="{C1375177-2760-4B7D-A988-E4A7D68FBABB}" srcOrd="5" destOrd="0" presId="urn:microsoft.com/office/officeart/2008/layout/VerticalCurvedList"/>
    <dgm:cxn modelId="{9165143D-AB9A-442D-B0F4-0EA5748B0501}" type="presParOf" srcId="{8483F65F-DB77-4D73-B544-001CEAEBE75E}" destId="{91CFA882-23D5-41BA-9F9C-69B85F76FB53}" srcOrd="6" destOrd="0" presId="urn:microsoft.com/office/officeart/2008/layout/VerticalCurvedList"/>
    <dgm:cxn modelId="{DCD8395F-7C7F-4377-B686-27B4C77364AB}" type="presParOf" srcId="{91CFA882-23D5-41BA-9F9C-69B85F76FB53}" destId="{8D7FA938-23A9-4601-A03F-E5110C34869D}" srcOrd="0" destOrd="0" presId="urn:microsoft.com/office/officeart/2008/layout/VerticalCurvedList"/>
    <dgm:cxn modelId="{02647A0C-042E-45F8-8CDD-197BF3B2CA24}" type="presParOf" srcId="{8483F65F-DB77-4D73-B544-001CEAEBE75E}" destId="{06702711-303C-40E4-941F-16288860D5CF}" srcOrd="7" destOrd="0" presId="urn:microsoft.com/office/officeart/2008/layout/VerticalCurvedList"/>
    <dgm:cxn modelId="{18E0AF8F-B269-4A67-9079-1E5EA719254F}" type="presParOf" srcId="{8483F65F-DB77-4D73-B544-001CEAEBE75E}" destId="{309BB1B3-D9E5-4043-B4D7-40B0C34B14A9}" srcOrd="8" destOrd="0" presId="urn:microsoft.com/office/officeart/2008/layout/VerticalCurvedList"/>
    <dgm:cxn modelId="{F1DAF0BA-1BED-4398-B99E-48733D3EA112}" type="presParOf" srcId="{309BB1B3-D9E5-4043-B4D7-40B0C34B14A9}" destId="{BD8C265F-1A38-47AF-8A1C-09754E58FDEB}" srcOrd="0" destOrd="0" presId="urn:microsoft.com/office/officeart/2008/layout/VerticalCurvedList"/>
    <dgm:cxn modelId="{E46605D9-B7C1-4919-BFB3-E673ED9B7354}" type="presParOf" srcId="{8483F65F-DB77-4D73-B544-001CEAEBE75E}" destId="{D054A985-56C9-45DC-B87A-0BD635841BB4}" srcOrd="9" destOrd="0" presId="urn:microsoft.com/office/officeart/2008/layout/VerticalCurvedList"/>
    <dgm:cxn modelId="{ABFDB346-28BF-4363-8CFE-4089E034E9B7}" type="presParOf" srcId="{8483F65F-DB77-4D73-B544-001CEAEBE75E}" destId="{981E151B-5313-4CB6-9E15-0C8D30F7F317}" srcOrd="10" destOrd="0" presId="urn:microsoft.com/office/officeart/2008/layout/VerticalCurvedList"/>
    <dgm:cxn modelId="{3B676B9F-8045-483B-9C2C-8D26ECB69620}" type="presParOf" srcId="{981E151B-5313-4CB6-9E15-0C8D30F7F317}" destId="{DC056E3F-2CA8-42BF-8EB5-B405D7A61920}" srcOrd="0" destOrd="0" presId="urn:microsoft.com/office/officeart/2008/layout/VerticalCurved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BBC0E6-001A-4FB5-B37A-94AE2C83AFD5}">
      <dsp:nvSpPr>
        <dsp:cNvPr id="0" name=""/>
        <dsp:cNvSpPr/>
      </dsp:nvSpPr>
      <dsp:spPr>
        <a:xfrm>
          <a:off x="2667806" y="43767"/>
          <a:ext cx="7406668" cy="2314583"/>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67745" tIns="53340" rIns="53340" bIns="53340" numCol="1" spcCol="1270" anchor="ctr" anchorCtr="0">
          <a:noAutofit/>
        </a:bodyPr>
        <a:lstStyle/>
        <a:p>
          <a:pPr marL="0" lvl="0" indent="0" algn="l" defTabSz="622300">
            <a:lnSpc>
              <a:spcPct val="90000"/>
            </a:lnSpc>
            <a:spcBef>
              <a:spcPct val="0"/>
            </a:spcBef>
            <a:spcAft>
              <a:spcPct val="35000"/>
            </a:spcAft>
            <a:buClrTx/>
            <a:buSzTx/>
            <a:buFontTx/>
            <a:buNone/>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a:rPr>
            <a:t>Kelly Kravitz, MPSA </a:t>
          </a:r>
        </a:p>
        <a:p>
          <a:pPr marL="0" lvl="0" indent="0" algn="l" defTabSz="622300" rtl="0">
            <a:lnSpc>
              <a:spcPct val="90000"/>
            </a:lnSpc>
            <a:spcBef>
              <a:spcPct val="0"/>
            </a:spcBef>
            <a:spcAft>
              <a:spcPct val="35000"/>
            </a:spcAft>
            <a:buClrTx/>
            <a:buSzTx/>
            <a:buFontTx/>
            <a:buNone/>
          </a:pPr>
          <a:r>
            <a:rPr kumimoji="0" lang="en-US" sz="1400" i="1" u="none" strike="noStrike" kern="1200" cap="none" spc="0" normalizeH="0" baseline="0" noProof="0" dirty="0">
              <a:ln>
                <a:noFill/>
              </a:ln>
              <a:solidFill>
                <a:prstClr val="black"/>
              </a:solidFill>
              <a:effectLst/>
              <a:uLnTx/>
              <a:uFillTx/>
              <a:latin typeface="Calibri" panose="020F0502020204030204"/>
              <a:ea typeface="+mn-ea"/>
              <a:cs typeface="Calibri"/>
            </a:rPr>
            <a:t>Director</a:t>
          </a:r>
          <a:r>
            <a:rPr kumimoji="0" lang="en-US" sz="1400" i="0" u="none" strike="noStrike" kern="1200" cap="none" spc="0" normalizeH="0" baseline="0" noProof="0" dirty="0">
              <a:ln>
                <a:noFill/>
              </a:ln>
              <a:solidFill>
                <a:prstClr val="black"/>
              </a:solidFill>
              <a:effectLst/>
              <a:uLnTx/>
              <a:uFillTx/>
              <a:latin typeface="Calibri" panose="020F0502020204030204"/>
              <a:ea typeface="+mn-ea"/>
              <a:cs typeface="Calibri"/>
            </a:rPr>
            <a:t> </a:t>
          </a:r>
        </a:p>
        <a:p>
          <a:pPr marL="0" lvl="0" indent="0" algn="l" defTabSz="622300">
            <a:lnSpc>
              <a:spcPct val="90000"/>
            </a:lnSpc>
            <a:spcBef>
              <a:spcPct val="0"/>
            </a:spcBef>
            <a:spcAft>
              <a:spcPct val="35000"/>
            </a:spcAft>
            <a:buClrTx/>
            <a:buSzTx/>
            <a:buFontTx/>
            <a:buNone/>
          </a:pPr>
          <a:r>
            <a:rPr kumimoji="0" lang="en-US" sz="1400" i="0" u="none" strike="noStrike" kern="1200" cap="none" spc="0" normalizeH="0" baseline="0" noProof="0" dirty="0">
              <a:ln>
                <a:noFill/>
              </a:ln>
              <a:solidFill>
                <a:prstClr val="black"/>
              </a:solidFill>
              <a:effectLst/>
              <a:uLnTx/>
              <a:uFillTx/>
              <a:latin typeface="Calibri" panose="020F0502020204030204"/>
              <a:ea typeface="+mn-ea"/>
              <a:cs typeface="Calibri"/>
            </a:rPr>
            <a:t>Highly Mobile and At-Risk Student Programs</a:t>
          </a:r>
        </a:p>
        <a:p>
          <a:pPr marL="0" lvl="0" indent="0" algn="l" defTabSz="622300">
            <a:lnSpc>
              <a:spcPct val="90000"/>
            </a:lnSpc>
            <a:spcBef>
              <a:spcPct val="0"/>
            </a:spcBef>
            <a:spcAft>
              <a:spcPct val="35000"/>
            </a:spcAft>
            <a:buClrTx/>
            <a:buSzTx/>
            <a:buFontTx/>
            <a:buNone/>
          </a:pPr>
          <a:r>
            <a:rPr lang="en-US" sz="1400" kern="1200" dirty="0">
              <a:ea typeface="+mn-lt"/>
              <a:cs typeface="+mn-lt"/>
            </a:rPr>
            <a:t>Phone: 512-463-9235</a:t>
          </a:r>
        </a:p>
        <a:p>
          <a:pPr marL="0" lvl="0" indent="0" algn="l" defTabSz="622300">
            <a:lnSpc>
              <a:spcPct val="90000"/>
            </a:lnSpc>
            <a:spcBef>
              <a:spcPct val="0"/>
            </a:spcBef>
            <a:spcAft>
              <a:spcPct val="35000"/>
            </a:spcAft>
            <a:buNone/>
          </a:pPr>
          <a:r>
            <a:rPr lang="en-US" sz="1400" kern="1200" dirty="0">
              <a:ea typeface="+mn-lt"/>
              <a:cs typeface="+mn-lt"/>
            </a:rPr>
            <a:t>Email: </a:t>
          </a:r>
          <a:r>
            <a:rPr lang="en-US" sz="1400" kern="1200" dirty="0">
              <a:ea typeface="+mn-lt"/>
              <a:cs typeface="+mn-lt"/>
              <a:hlinkClick xmlns:r="http://schemas.openxmlformats.org/officeDocument/2006/relationships" r:id="rId1"/>
            </a:rPr>
            <a:t>Kelly.Kravitz@tea.texas.gov</a:t>
          </a:r>
          <a:endParaRPr lang="en-US" sz="1400" kern="1200" dirty="0"/>
        </a:p>
      </dsp:txBody>
      <dsp:txXfrm>
        <a:off x="2667806" y="43767"/>
        <a:ext cx="7406668" cy="2314583"/>
      </dsp:txXfrm>
    </dsp:sp>
    <dsp:sp modelId="{B5E20274-0E53-47D1-BA65-B219FD0E69FD}">
      <dsp:nvSpPr>
        <dsp:cNvPr id="0" name=""/>
        <dsp:cNvSpPr/>
      </dsp:nvSpPr>
      <dsp:spPr>
        <a:xfrm rot="5400000">
          <a:off x="2080057" y="69610"/>
          <a:ext cx="2178484" cy="1709968"/>
        </a:xfrm>
        <a:prstGeom prst="rect">
          <a:avLst/>
        </a:prstGeom>
        <a:blipFill rotWithShape="1">
          <a:blip xmlns:r="http://schemas.openxmlformats.org/officeDocument/2006/relationships" r:embed="rId2" r:link="rId3">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AEBBE1-5CD7-4FC7-A401-7AF51C994F7B}">
      <dsp:nvSpPr>
        <dsp:cNvPr id="0" name=""/>
        <dsp:cNvSpPr/>
      </dsp:nvSpPr>
      <dsp:spPr>
        <a:xfrm>
          <a:off x="2528237" y="2808315"/>
          <a:ext cx="7406668" cy="2613095"/>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67745" tIns="53340" rIns="53340" bIns="53340" numCol="1" spcCol="1270" anchor="ctr" anchorCtr="0">
          <a:noAutofit/>
        </a:bodyPr>
        <a:lstStyle/>
        <a:p>
          <a:pPr marL="0" lvl="0" indent="0" algn="l" defTabSz="622300">
            <a:lnSpc>
              <a:spcPct val="90000"/>
            </a:lnSpc>
            <a:spcBef>
              <a:spcPct val="0"/>
            </a:spcBef>
            <a:spcAft>
              <a:spcPct val="35000"/>
            </a:spcAft>
            <a:buClrTx/>
            <a:buSzTx/>
            <a:buFontTx/>
            <a:buNone/>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Jordan Brown</a:t>
          </a:r>
        </a:p>
        <a:p>
          <a:pPr marL="0" lvl="0" indent="0" algn="l" defTabSz="622300">
            <a:lnSpc>
              <a:spcPct val="90000"/>
            </a:lnSpc>
            <a:spcBef>
              <a:spcPct val="0"/>
            </a:spcBef>
            <a:spcAft>
              <a:spcPct val="35000"/>
            </a:spcAft>
            <a:buClrTx/>
            <a:buSzTx/>
            <a:buFontTx/>
            <a:buNone/>
          </a:pPr>
          <a:r>
            <a:rPr kumimoji="0" lang="en-US" sz="1400" i="1" u="none" strike="noStrike" kern="1200" cap="none" spc="0" normalizeH="0" baseline="0" noProof="0" dirty="0">
              <a:ln>
                <a:noFill/>
              </a:ln>
              <a:solidFill>
                <a:prstClr val="black"/>
              </a:solidFill>
              <a:effectLst/>
              <a:uLnTx/>
              <a:uFillTx/>
              <a:latin typeface="Calibri" panose="020F0502020204030204"/>
              <a:ea typeface="+mn-ea"/>
              <a:cs typeface="+mn-cs"/>
            </a:rPr>
            <a:t>Program Specialist</a:t>
          </a:r>
        </a:p>
        <a:p>
          <a:pPr marL="0" lvl="0" indent="0" algn="l" defTabSz="622300" rtl="0">
            <a:lnSpc>
              <a:spcPct val="90000"/>
            </a:lnSpc>
            <a:spcBef>
              <a:spcPct val="0"/>
            </a:spcBef>
            <a:spcAft>
              <a:spcPct val="35000"/>
            </a:spcAft>
            <a:buClrTx/>
            <a:buSzTx/>
            <a:buFontTx/>
            <a:buNone/>
          </a:pPr>
          <a:r>
            <a:rPr kumimoji="0" lang="en-US" sz="1400" i="0" u="none" strike="noStrike" kern="1200" cap="none" spc="0" normalizeH="0" baseline="0" noProof="0" dirty="0">
              <a:ln>
                <a:noFill/>
              </a:ln>
              <a:solidFill>
                <a:prstClr val="black"/>
              </a:solidFill>
              <a:effectLst/>
              <a:uLnTx/>
              <a:uFillTx/>
              <a:latin typeface="Calibri" panose="020F0502020204030204"/>
              <a:ea typeface="+mn-ea"/>
              <a:cs typeface="+mn-cs"/>
            </a:rPr>
            <a:t>Texas Education for Homeless Children and Youth (TEHCY) Program</a:t>
          </a:r>
        </a:p>
        <a:p>
          <a:pPr marL="0" lvl="0" indent="0" algn="l" defTabSz="622300">
            <a:lnSpc>
              <a:spcPct val="90000"/>
            </a:lnSpc>
            <a:spcBef>
              <a:spcPct val="0"/>
            </a:spcBef>
            <a:spcAft>
              <a:spcPct val="35000"/>
            </a:spcAft>
            <a:buClrTx/>
            <a:buSzTx/>
            <a:buFontTx/>
            <a:buNone/>
          </a:pPr>
          <a:r>
            <a:rPr lang="en-US" sz="1400" kern="1200" dirty="0"/>
            <a:t>Phone: 512-463-9467</a:t>
          </a:r>
        </a:p>
        <a:p>
          <a:pPr marL="0" lvl="0" indent="0" algn="l" defTabSz="622300">
            <a:lnSpc>
              <a:spcPct val="90000"/>
            </a:lnSpc>
            <a:spcBef>
              <a:spcPct val="0"/>
            </a:spcBef>
            <a:spcAft>
              <a:spcPct val="35000"/>
            </a:spcAft>
            <a:buNone/>
          </a:pPr>
          <a:r>
            <a:rPr lang="en-US" sz="1400" kern="1200" dirty="0"/>
            <a:t>Email: </a:t>
          </a:r>
          <a:r>
            <a:rPr lang="en-US" sz="1400" kern="1200" dirty="0">
              <a:hlinkClick xmlns:r="http://schemas.openxmlformats.org/officeDocument/2006/relationships" r:id="rId4"/>
            </a:rPr>
            <a:t>Jordan.Brown@tea.texas.gov</a:t>
          </a:r>
          <a:endParaRPr lang="en-US" sz="1400" kern="1200" dirty="0">
            <a:latin typeface="Calibri Light" panose="020F0302020204030204"/>
          </a:endParaRPr>
        </a:p>
      </dsp:txBody>
      <dsp:txXfrm>
        <a:off x="2528237" y="2808315"/>
        <a:ext cx="7406668" cy="2613095"/>
      </dsp:txXfrm>
    </dsp:sp>
    <dsp:sp modelId="{31BDDF92-B616-40D4-ABB6-FCD9329F2188}">
      <dsp:nvSpPr>
        <dsp:cNvPr id="0" name=""/>
        <dsp:cNvSpPr/>
      </dsp:nvSpPr>
      <dsp:spPr>
        <a:xfrm>
          <a:off x="2219626" y="2623242"/>
          <a:ext cx="1620208" cy="2430313"/>
        </a:xfrm>
        <a:prstGeom prst="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9000" r="-2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BB756D-A61F-4FF9-9F84-6F9BF212A738}">
      <dsp:nvSpPr>
        <dsp:cNvPr id="0" name=""/>
        <dsp:cNvSpPr/>
      </dsp:nvSpPr>
      <dsp:spPr>
        <a:xfrm>
          <a:off x="0" y="4053846"/>
          <a:ext cx="10623761" cy="886882"/>
        </a:xfrm>
        <a:prstGeom prst="rect">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i="0" kern="1200"/>
            <a:t>McKinney-Vento coding does not carry over from year-to-year</a:t>
          </a:r>
          <a:endParaRPr lang="en-US" sz="2400" kern="1200"/>
        </a:p>
      </dsp:txBody>
      <dsp:txXfrm>
        <a:off x="0" y="4053846"/>
        <a:ext cx="10623761" cy="886882"/>
      </dsp:txXfrm>
    </dsp:sp>
    <dsp:sp modelId="{B1BFBF9F-B49A-4D36-B1C3-F561758EA20E}">
      <dsp:nvSpPr>
        <dsp:cNvPr id="0" name=""/>
        <dsp:cNvSpPr/>
      </dsp:nvSpPr>
      <dsp:spPr>
        <a:xfrm rot="10800000">
          <a:off x="0" y="2703124"/>
          <a:ext cx="10623761" cy="1364025"/>
        </a:xfrm>
        <a:prstGeom prst="upArrowCallou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i="0" kern="1200"/>
            <a:t>Identification and coding is for the current school year</a:t>
          </a:r>
          <a:endParaRPr lang="en-US" sz="2400" kern="1200"/>
        </a:p>
      </dsp:txBody>
      <dsp:txXfrm rot="10800000">
        <a:off x="0" y="2703124"/>
        <a:ext cx="10623761" cy="886303"/>
      </dsp:txXfrm>
    </dsp:sp>
    <dsp:sp modelId="{8A26F0C0-A495-45BF-B7A5-E9F011685616}">
      <dsp:nvSpPr>
        <dsp:cNvPr id="0" name=""/>
        <dsp:cNvSpPr/>
      </dsp:nvSpPr>
      <dsp:spPr>
        <a:xfrm rot="10800000">
          <a:off x="0" y="1352402"/>
          <a:ext cx="10623761" cy="1364025"/>
        </a:xfrm>
        <a:prstGeom prst="upArrowCallout">
          <a:avLst/>
        </a:prstGeom>
        <a:solidFill>
          <a:schemeClr val="accent3">
            <a:hueOff val="11099358"/>
            <a:satOff val="-25716"/>
            <a:lumOff val="-83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i="0" kern="1200"/>
            <a:t>McKinney-Vento eligible students should be coded at the time of identification</a:t>
          </a:r>
          <a:endParaRPr lang="en-US" sz="2400" kern="1200"/>
        </a:p>
      </dsp:txBody>
      <dsp:txXfrm rot="10800000">
        <a:off x="0" y="1352402"/>
        <a:ext cx="10623761" cy="886303"/>
      </dsp:txXfrm>
    </dsp:sp>
    <dsp:sp modelId="{77A801E4-D8DA-4E56-9308-313B33D5C538}">
      <dsp:nvSpPr>
        <dsp:cNvPr id="0" name=""/>
        <dsp:cNvSpPr/>
      </dsp:nvSpPr>
      <dsp:spPr>
        <a:xfrm rot="10800000">
          <a:off x="0" y="1680"/>
          <a:ext cx="10623761" cy="1364025"/>
        </a:xfrm>
        <a:prstGeom prst="upArrowCallout">
          <a:avLst/>
        </a:prstGeom>
        <a:solidFill>
          <a:schemeClr val="accent3">
            <a:hueOff val="16649037"/>
            <a:satOff val="-38574"/>
            <a:lumOff val="-12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1" i="0" kern="1200"/>
            <a:t>Student eligibility for McKinney-Vento services should be assessed annually</a:t>
          </a:r>
          <a:endParaRPr lang="en-US" sz="2400" kern="1200"/>
        </a:p>
      </dsp:txBody>
      <dsp:txXfrm rot="10800000">
        <a:off x="0" y="1680"/>
        <a:ext cx="10623761" cy="8863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E584C4-CEEE-4983-B32D-17F54DB4322D}">
      <dsp:nvSpPr>
        <dsp:cNvPr id="0" name=""/>
        <dsp:cNvSpPr/>
      </dsp:nvSpPr>
      <dsp:spPr>
        <a:xfrm>
          <a:off x="-5177972" y="-793156"/>
          <a:ext cx="6166291" cy="6166291"/>
        </a:xfrm>
        <a:prstGeom prst="blockArc">
          <a:avLst>
            <a:gd name="adj1" fmla="val 18900000"/>
            <a:gd name="adj2" fmla="val 2700000"/>
            <a:gd name="adj3" fmla="val 35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7B689C-EABE-41D4-B0EE-B931228A8631}">
      <dsp:nvSpPr>
        <dsp:cNvPr id="0" name=""/>
        <dsp:cNvSpPr/>
      </dsp:nvSpPr>
      <dsp:spPr>
        <a:xfrm>
          <a:off x="635701" y="457997"/>
          <a:ext cx="4528767" cy="9159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707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Best practice to determine McKinney-Vento eligibility</a:t>
          </a:r>
        </a:p>
      </dsp:txBody>
      <dsp:txXfrm>
        <a:off x="635701" y="457997"/>
        <a:ext cx="4528767" cy="915995"/>
      </dsp:txXfrm>
    </dsp:sp>
    <dsp:sp modelId="{8BE17009-707D-4358-B69A-4591872C7F40}">
      <dsp:nvSpPr>
        <dsp:cNvPr id="0" name=""/>
        <dsp:cNvSpPr/>
      </dsp:nvSpPr>
      <dsp:spPr>
        <a:xfrm>
          <a:off x="63203" y="343498"/>
          <a:ext cx="1144994" cy="1144994"/>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E39B46-50AE-44B6-98DC-9463162C2EE7}">
      <dsp:nvSpPr>
        <dsp:cNvPr id="0" name=""/>
        <dsp:cNvSpPr/>
      </dsp:nvSpPr>
      <dsp:spPr>
        <a:xfrm>
          <a:off x="968665" y="1831991"/>
          <a:ext cx="4195802" cy="9159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707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Available in a digital format </a:t>
          </a:r>
        </a:p>
      </dsp:txBody>
      <dsp:txXfrm>
        <a:off x="968665" y="1831991"/>
        <a:ext cx="4195802" cy="915995"/>
      </dsp:txXfrm>
    </dsp:sp>
    <dsp:sp modelId="{5FF8D61E-9870-40ED-AC31-CEE2F9C4DF16}">
      <dsp:nvSpPr>
        <dsp:cNvPr id="0" name=""/>
        <dsp:cNvSpPr/>
      </dsp:nvSpPr>
      <dsp:spPr>
        <a:xfrm>
          <a:off x="396168" y="1717492"/>
          <a:ext cx="1144994" cy="1144994"/>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BF241DE-F6EF-4C03-AB85-C060530D6941}">
      <dsp:nvSpPr>
        <dsp:cNvPr id="0" name=""/>
        <dsp:cNvSpPr/>
      </dsp:nvSpPr>
      <dsp:spPr>
        <a:xfrm>
          <a:off x="635701" y="3205985"/>
          <a:ext cx="4528767" cy="9159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707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SRQ’s completed throughout the school year</a:t>
          </a:r>
        </a:p>
      </dsp:txBody>
      <dsp:txXfrm>
        <a:off x="635701" y="3205985"/>
        <a:ext cx="4528767" cy="915995"/>
      </dsp:txXfrm>
    </dsp:sp>
    <dsp:sp modelId="{3D12CC4A-7464-4950-B158-2D76C2AD9ED2}">
      <dsp:nvSpPr>
        <dsp:cNvPr id="0" name=""/>
        <dsp:cNvSpPr/>
      </dsp:nvSpPr>
      <dsp:spPr>
        <a:xfrm>
          <a:off x="63203" y="3091485"/>
          <a:ext cx="1144994" cy="1144994"/>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E584C4-CEEE-4983-B32D-17F54DB4322D}">
      <dsp:nvSpPr>
        <dsp:cNvPr id="0" name=""/>
        <dsp:cNvSpPr/>
      </dsp:nvSpPr>
      <dsp:spPr>
        <a:xfrm>
          <a:off x="-4440337" y="-680996"/>
          <a:ext cx="5289877" cy="5289877"/>
        </a:xfrm>
        <a:prstGeom prst="blockArc">
          <a:avLst>
            <a:gd name="adj1" fmla="val 18900000"/>
            <a:gd name="adj2" fmla="val 2700000"/>
            <a:gd name="adj3" fmla="val 40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7B689C-EABE-41D4-B0EE-B931228A8631}">
      <dsp:nvSpPr>
        <dsp:cNvPr id="0" name=""/>
        <dsp:cNvSpPr/>
      </dsp:nvSpPr>
      <dsp:spPr>
        <a:xfrm>
          <a:off x="546358" y="392788"/>
          <a:ext cx="5452391" cy="7855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35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Clarify responses on the SRQ</a:t>
          </a:r>
        </a:p>
      </dsp:txBody>
      <dsp:txXfrm>
        <a:off x="546358" y="392788"/>
        <a:ext cx="5452391" cy="785577"/>
      </dsp:txXfrm>
    </dsp:sp>
    <dsp:sp modelId="{8BE17009-707D-4358-B69A-4591872C7F40}">
      <dsp:nvSpPr>
        <dsp:cNvPr id="0" name=""/>
        <dsp:cNvSpPr/>
      </dsp:nvSpPr>
      <dsp:spPr>
        <a:xfrm>
          <a:off x="55372" y="294591"/>
          <a:ext cx="981971" cy="981971"/>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E39B46-50AE-44B6-98DC-9463162C2EE7}">
      <dsp:nvSpPr>
        <dsp:cNvPr id="0" name=""/>
        <dsp:cNvSpPr/>
      </dsp:nvSpPr>
      <dsp:spPr>
        <a:xfrm>
          <a:off x="831915" y="1571154"/>
          <a:ext cx="5166834" cy="7855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35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Document School of Origin</a:t>
          </a:r>
        </a:p>
      </dsp:txBody>
      <dsp:txXfrm>
        <a:off x="831915" y="1571154"/>
        <a:ext cx="5166834" cy="785577"/>
      </dsp:txXfrm>
    </dsp:sp>
    <dsp:sp modelId="{5FF8D61E-9870-40ED-AC31-CEE2F9C4DF16}">
      <dsp:nvSpPr>
        <dsp:cNvPr id="0" name=""/>
        <dsp:cNvSpPr/>
      </dsp:nvSpPr>
      <dsp:spPr>
        <a:xfrm>
          <a:off x="340930" y="1472956"/>
          <a:ext cx="981971" cy="981971"/>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BF241DE-F6EF-4C03-AB85-C060530D6941}">
      <dsp:nvSpPr>
        <dsp:cNvPr id="0" name=""/>
        <dsp:cNvSpPr/>
      </dsp:nvSpPr>
      <dsp:spPr>
        <a:xfrm>
          <a:off x="546358" y="2749519"/>
          <a:ext cx="5452391" cy="78557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23552"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Identify all eligible students in the family </a:t>
          </a:r>
        </a:p>
      </dsp:txBody>
      <dsp:txXfrm>
        <a:off x="546358" y="2749519"/>
        <a:ext cx="5452391" cy="785577"/>
      </dsp:txXfrm>
    </dsp:sp>
    <dsp:sp modelId="{3D12CC4A-7464-4950-B158-2D76C2AD9ED2}">
      <dsp:nvSpPr>
        <dsp:cNvPr id="0" name=""/>
        <dsp:cNvSpPr/>
      </dsp:nvSpPr>
      <dsp:spPr>
        <a:xfrm>
          <a:off x="55372" y="2651322"/>
          <a:ext cx="981971" cy="981971"/>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E584C4-CEEE-4983-B32D-17F54DB4322D}">
      <dsp:nvSpPr>
        <dsp:cNvPr id="0" name=""/>
        <dsp:cNvSpPr/>
      </dsp:nvSpPr>
      <dsp:spPr>
        <a:xfrm>
          <a:off x="-4720125" y="-723531"/>
          <a:ext cx="5622244" cy="5622244"/>
        </a:xfrm>
        <a:prstGeom prst="blockArc">
          <a:avLst>
            <a:gd name="adj1" fmla="val 18900000"/>
            <a:gd name="adj2" fmla="val 2700000"/>
            <a:gd name="adj3" fmla="val 384"/>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7B689C-EABE-41D4-B0EE-B931228A8631}">
      <dsp:nvSpPr>
        <dsp:cNvPr id="0" name=""/>
        <dsp:cNvSpPr/>
      </dsp:nvSpPr>
      <dsp:spPr>
        <a:xfrm>
          <a:off x="580190" y="417518"/>
          <a:ext cx="5344744" cy="8350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281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Review program services </a:t>
          </a:r>
        </a:p>
      </dsp:txBody>
      <dsp:txXfrm>
        <a:off x="580190" y="417518"/>
        <a:ext cx="5344744" cy="835036"/>
      </dsp:txXfrm>
    </dsp:sp>
    <dsp:sp modelId="{8BE17009-707D-4358-B69A-4591872C7F40}">
      <dsp:nvSpPr>
        <dsp:cNvPr id="0" name=""/>
        <dsp:cNvSpPr/>
      </dsp:nvSpPr>
      <dsp:spPr>
        <a:xfrm>
          <a:off x="58292" y="313138"/>
          <a:ext cx="1043795" cy="1043795"/>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E39B46-50AE-44B6-98DC-9463162C2EE7}">
      <dsp:nvSpPr>
        <dsp:cNvPr id="0" name=""/>
        <dsp:cNvSpPr/>
      </dsp:nvSpPr>
      <dsp:spPr>
        <a:xfrm>
          <a:off x="883725" y="1670072"/>
          <a:ext cx="5041208" cy="8350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281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Document referrals and services provided</a:t>
          </a:r>
        </a:p>
      </dsp:txBody>
      <dsp:txXfrm>
        <a:off x="883725" y="1670072"/>
        <a:ext cx="5041208" cy="835036"/>
      </dsp:txXfrm>
    </dsp:sp>
    <dsp:sp modelId="{5FF8D61E-9870-40ED-AC31-CEE2F9C4DF16}">
      <dsp:nvSpPr>
        <dsp:cNvPr id="0" name=""/>
        <dsp:cNvSpPr/>
      </dsp:nvSpPr>
      <dsp:spPr>
        <a:xfrm>
          <a:off x="361828" y="1565693"/>
          <a:ext cx="1043795" cy="1043795"/>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BF241DE-F6EF-4C03-AB85-C060530D6941}">
      <dsp:nvSpPr>
        <dsp:cNvPr id="0" name=""/>
        <dsp:cNvSpPr/>
      </dsp:nvSpPr>
      <dsp:spPr>
        <a:xfrm>
          <a:off x="580190" y="2922627"/>
          <a:ext cx="5344744" cy="83503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2810" tIns="60960" rIns="60960" bIns="60960" numCol="1" spcCol="1270" anchor="ctr" anchorCtr="0">
          <a:noAutofit/>
        </a:bodyPr>
        <a:lstStyle/>
        <a:p>
          <a:pPr marL="0" lvl="0" indent="0" algn="l" defTabSz="1066800">
            <a:lnSpc>
              <a:spcPct val="90000"/>
            </a:lnSpc>
            <a:spcBef>
              <a:spcPct val="0"/>
            </a:spcBef>
            <a:spcAft>
              <a:spcPct val="35000"/>
            </a:spcAft>
            <a:buNone/>
          </a:pPr>
          <a:r>
            <a:rPr lang="en-US" sz="2400" b="1" kern="1200"/>
            <a:t>Document non-qualification criteria and intake notes</a:t>
          </a:r>
        </a:p>
      </dsp:txBody>
      <dsp:txXfrm>
        <a:off x="580190" y="2922627"/>
        <a:ext cx="5344744" cy="835036"/>
      </dsp:txXfrm>
    </dsp:sp>
    <dsp:sp modelId="{3D12CC4A-7464-4950-B158-2D76C2AD9ED2}">
      <dsp:nvSpPr>
        <dsp:cNvPr id="0" name=""/>
        <dsp:cNvSpPr/>
      </dsp:nvSpPr>
      <dsp:spPr>
        <a:xfrm>
          <a:off x="58292" y="2818247"/>
          <a:ext cx="1043795" cy="1043795"/>
        </a:xfrm>
        <a:prstGeom prst="rightArrow">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5C56FA-A2BE-428B-83AA-0005FFC38D91}">
      <dsp:nvSpPr>
        <dsp:cNvPr id="0" name=""/>
        <dsp:cNvSpPr/>
      </dsp:nvSpPr>
      <dsp:spPr>
        <a:xfrm>
          <a:off x="0" y="151967"/>
          <a:ext cx="10515599" cy="24979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Provides reminder of ESSER funding and how these resources can be used to address the unique academic, social, emotional, mental health, and related needs of Special Populations due to COVID-19. </a:t>
          </a:r>
        </a:p>
      </dsp:txBody>
      <dsp:txXfrm>
        <a:off x="121940" y="273907"/>
        <a:ext cx="10271719" cy="2254070"/>
      </dsp:txXfrm>
    </dsp:sp>
    <dsp:sp modelId="{3EDDFBD6-2403-408B-AEF4-E43CBC322588}">
      <dsp:nvSpPr>
        <dsp:cNvPr id="0" name=""/>
        <dsp:cNvSpPr/>
      </dsp:nvSpPr>
      <dsp:spPr>
        <a:xfrm>
          <a:off x="0" y="2750717"/>
          <a:ext cx="10515599" cy="24979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kern="1200" dirty="0"/>
            <a:t>TEA HMAR Webpage Tools and Resources: https://tea.texas.gov/academics/special-student-populations/tools-and-resources</a:t>
          </a:r>
        </a:p>
      </dsp:txBody>
      <dsp:txXfrm>
        <a:off x="121940" y="2872657"/>
        <a:ext cx="10271719" cy="225407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355B8A-D215-486E-896C-FA3B38A28804}">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7C903E-7C43-4A34-AD3B-37DF2941E7D2}">
      <dsp:nvSpPr>
        <dsp:cNvPr id="0" name=""/>
        <dsp:cNvSpPr/>
      </dsp:nvSpPr>
      <dsp:spPr>
        <a:xfrm>
          <a:off x="509717" y="338558"/>
          <a:ext cx="7541700" cy="677550"/>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35560" rIns="35560" bIns="35560" numCol="1" spcCol="1270" anchor="t" anchorCtr="0">
          <a:noAutofit/>
        </a:bodyPr>
        <a:lstStyle/>
        <a:p>
          <a:pPr marL="0" lvl="0" indent="0" algn="l" defTabSz="711200">
            <a:lnSpc>
              <a:spcPct val="90000"/>
            </a:lnSpc>
            <a:spcBef>
              <a:spcPct val="0"/>
            </a:spcBef>
            <a:spcAft>
              <a:spcPct val="35000"/>
            </a:spcAft>
            <a:buNone/>
          </a:pPr>
          <a:r>
            <a:rPr lang="en-US" sz="1600" kern="1200">
              <a:latin typeface="Arial"/>
              <a:cs typeface="Arial"/>
              <a:hlinkClick xmlns:r="http://schemas.openxmlformats.org/officeDocument/2006/relationships" r:id="rId1">
                <a:extLst>
                  <a:ext uri="{A12FA001-AC4F-418D-AE19-62706E023703}">
                    <ahyp:hlinkClr xmlns:ahyp="http://schemas.microsoft.com/office/drawing/2018/hyperlinkcolor" val="tx"/>
                  </a:ext>
                </a:extLst>
              </a:hlinkClick>
            </a:rPr>
            <a:t>Military Connected Students</a:t>
          </a:r>
          <a:endParaRPr lang="en-US" sz="1600" kern="1200">
            <a:latin typeface="Arial"/>
            <a:cs typeface="Arial"/>
          </a:endParaRPr>
        </a:p>
        <a:p>
          <a:pPr marL="114300" lvl="1" indent="-114300" algn="l" defTabSz="622300">
            <a:lnSpc>
              <a:spcPct val="90000"/>
            </a:lnSpc>
            <a:spcBef>
              <a:spcPct val="0"/>
            </a:spcBef>
            <a:spcAft>
              <a:spcPct val="15000"/>
            </a:spcAft>
            <a:buChar char="•"/>
          </a:pPr>
          <a:r>
            <a:rPr lang="en-US" sz="1400" kern="1200">
              <a:hlinkClick xmlns:r="http://schemas.openxmlformats.org/officeDocument/2006/relationships" r:id="rId2"/>
            </a:rPr>
            <a:t>MilitaryConnectedStudents@tea.texas.gov</a:t>
          </a:r>
          <a:endParaRPr lang="en-US" sz="1400" kern="1200">
            <a:latin typeface="Arial" panose="020B0604020202020204" pitchFamily="34" charset="0"/>
            <a:cs typeface="Arial" panose="020B0604020202020204" pitchFamily="34" charset="0"/>
          </a:endParaRPr>
        </a:p>
      </dsp:txBody>
      <dsp:txXfrm>
        <a:off x="509717" y="338558"/>
        <a:ext cx="7541700" cy="677550"/>
      </dsp:txXfrm>
    </dsp:sp>
    <dsp:sp modelId="{ED71E7F0-0B98-4143-BC1E-AD02716ED522}">
      <dsp:nvSpPr>
        <dsp:cNvPr id="0" name=""/>
        <dsp:cNvSpPr/>
      </dsp:nvSpPr>
      <dsp:spPr>
        <a:xfrm>
          <a:off x="40336" y="350008"/>
          <a:ext cx="846937" cy="84693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A354A5E-5F17-432D-8FE6-7CF75C8ABFE7}">
      <dsp:nvSpPr>
        <dsp:cNvPr id="0" name=""/>
        <dsp:cNvSpPr/>
      </dsp:nvSpPr>
      <dsp:spPr>
        <a:xfrm>
          <a:off x="995230" y="1354558"/>
          <a:ext cx="7056187" cy="677550"/>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35560" rIns="35560" bIns="35560" numCol="1" spcCol="1270" anchor="t" anchorCtr="0">
          <a:noAutofit/>
        </a:bodyPr>
        <a:lstStyle/>
        <a:p>
          <a:pPr marL="0" lvl="0" indent="0" algn="l" defTabSz="711200">
            <a:lnSpc>
              <a:spcPct val="90000"/>
            </a:lnSpc>
            <a:spcBef>
              <a:spcPct val="0"/>
            </a:spcBef>
            <a:spcAft>
              <a:spcPct val="35000"/>
            </a:spcAft>
            <a:buNone/>
          </a:pPr>
          <a:r>
            <a:rPr lang="en-US" sz="1600" kern="1200">
              <a:latin typeface="Arial"/>
              <a:cs typeface="Arial"/>
              <a:hlinkClick xmlns:r="http://schemas.openxmlformats.org/officeDocument/2006/relationships" r:id="rId3">
                <a:extLst>
                  <a:ext uri="{A12FA001-AC4F-418D-AE19-62706E023703}">
                    <ahyp:hlinkClr xmlns:ahyp="http://schemas.microsoft.com/office/drawing/2018/hyperlinkcolor" val="tx"/>
                  </a:ext>
                </a:extLst>
              </a:hlinkClick>
            </a:rPr>
            <a:t>Pregnancy Related Services</a:t>
          </a:r>
          <a:endParaRPr lang="en-US" sz="1600" kern="1200">
            <a:latin typeface="Arial"/>
            <a:cs typeface="Arial"/>
          </a:endParaRPr>
        </a:p>
        <a:p>
          <a:pPr marL="114300" lvl="1" indent="-114300" algn="l" defTabSz="622300">
            <a:lnSpc>
              <a:spcPct val="90000"/>
            </a:lnSpc>
            <a:spcBef>
              <a:spcPct val="0"/>
            </a:spcBef>
            <a:spcAft>
              <a:spcPct val="15000"/>
            </a:spcAft>
            <a:buChar char="•"/>
          </a:pPr>
          <a:r>
            <a:rPr lang="en-US" sz="1400" kern="1200">
              <a:hlinkClick xmlns:r="http://schemas.openxmlformats.org/officeDocument/2006/relationships" r:id="rId4"/>
            </a:rPr>
            <a:t>PregnancyRelatedServices@tea.texas.gov</a:t>
          </a:r>
          <a:endParaRPr lang="en-US" sz="1400" kern="1200">
            <a:latin typeface="Arial" panose="020B0604020202020204" pitchFamily="34" charset="0"/>
            <a:cs typeface="Arial" panose="020B0604020202020204" pitchFamily="34" charset="0"/>
          </a:endParaRPr>
        </a:p>
      </dsp:txBody>
      <dsp:txXfrm>
        <a:off x="995230" y="1354558"/>
        <a:ext cx="7056187" cy="677550"/>
      </dsp:txXfrm>
    </dsp:sp>
    <dsp:sp modelId="{2D03A0AC-293C-4738-93BD-082C5878C478}">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1375177-2760-4B7D-A988-E4A7D68FBABB}">
      <dsp:nvSpPr>
        <dsp:cNvPr id="0" name=""/>
        <dsp:cNvSpPr/>
      </dsp:nvSpPr>
      <dsp:spPr>
        <a:xfrm>
          <a:off x="1144243" y="2370558"/>
          <a:ext cx="6907174" cy="677550"/>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35560" rIns="35560" bIns="35560" numCol="1" spcCol="1270" anchor="t" anchorCtr="0">
          <a:noAutofit/>
        </a:bodyPr>
        <a:lstStyle/>
        <a:p>
          <a:pPr marL="0" lvl="0" indent="0" algn="l" defTabSz="711200">
            <a:lnSpc>
              <a:spcPct val="90000"/>
            </a:lnSpc>
            <a:spcBef>
              <a:spcPct val="0"/>
            </a:spcBef>
            <a:spcAft>
              <a:spcPct val="35000"/>
            </a:spcAft>
            <a:buNone/>
          </a:pPr>
          <a:r>
            <a:rPr lang="en-US" sz="1600" kern="1200">
              <a:latin typeface="Arial"/>
              <a:cs typeface="Arial"/>
              <a:hlinkClick xmlns:r="http://schemas.openxmlformats.org/officeDocument/2006/relationships" r:id="rId5">
                <a:extLst>
                  <a:ext uri="{A12FA001-AC4F-418D-AE19-62706E023703}">
                    <ahyp:hlinkClr xmlns:ahyp="http://schemas.microsoft.com/office/drawing/2018/hyperlinkcolor" val="tx"/>
                  </a:ext>
                </a:extLst>
              </a:hlinkClick>
            </a:rPr>
            <a:t>Foster Care and Student Success</a:t>
          </a:r>
          <a:endParaRPr lang="en-US" sz="1600" kern="1200">
            <a:latin typeface="Arial"/>
            <a:cs typeface="Arial"/>
          </a:endParaRPr>
        </a:p>
        <a:p>
          <a:pPr marL="114300" lvl="1" indent="-114300" algn="l" defTabSz="622300">
            <a:lnSpc>
              <a:spcPct val="90000"/>
            </a:lnSpc>
            <a:spcBef>
              <a:spcPct val="0"/>
            </a:spcBef>
            <a:spcAft>
              <a:spcPct val="15000"/>
            </a:spcAft>
            <a:buChar char="•"/>
          </a:pPr>
          <a:r>
            <a:rPr lang="en-US" sz="1400" kern="1200">
              <a:hlinkClick xmlns:r="http://schemas.openxmlformats.org/officeDocument/2006/relationships" r:id="rId6"/>
            </a:rPr>
            <a:t>FosterCareLiaison@tea.texas.gov</a:t>
          </a:r>
          <a:endParaRPr lang="en-US" sz="1400" kern="1200">
            <a:latin typeface="Arial" panose="020B0604020202020204" pitchFamily="34" charset="0"/>
            <a:cs typeface="Arial" panose="020B0604020202020204" pitchFamily="34" charset="0"/>
          </a:endParaRPr>
        </a:p>
      </dsp:txBody>
      <dsp:txXfrm>
        <a:off x="1144243" y="2370558"/>
        <a:ext cx="6907174" cy="677550"/>
      </dsp:txXfrm>
    </dsp:sp>
    <dsp:sp modelId="{8D7FA938-23A9-4601-A03F-E5110C34869D}">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6702711-303C-40E4-941F-16288860D5CF}">
      <dsp:nvSpPr>
        <dsp:cNvPr id="0" name=""/>
        <dsp:cNvSpPr/>
      </dsp:nvSpPr>
      <dsp:spPr>
        <a:xfrm>
          <a:off x="995230" y="3386558"/>
          <a:ext cx="7056187" cy="677550"/>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35560" rIns="35560" bIns="35560" numCol="1" spcCol="1270" anchor="t" anchorCtr="0">
          <a:noAutofit/>
        </a:bodyPr>
        <a:lstStyle/>
        <a:p>
          <a:pPr marL="0" lvl="0" indent="0" algn="l" defTabSz="711200">
            <a:lnSpc>
              <a:spcPct val="90000"/>
            </a:lnSpc>
            <a:spcBef>
              <a:spcPct val="0"/>
            </a:spcBef>
            <a:spcAft>
              <a:spcPct val="35000"/>
            </a:spcAft>
            <a:buNone/>
          </a:pPr>
          <a:r>
            <a:rPr lang="en-US" sz="1600" kern="1200">
              <a:latin typeface="Arial"/>
              <a:cs typeface="Arial"/>
              <a:hlinkClick xmlns:r="http://schemas.openxmlformats.org/officeDocument/2006/relationships" r:id="rId7">
                <a:extLst>
                  <a:ext uri="{A12FA001-AC4F-418D-AE19-62706E023703}">
                    <ahyp:hlinkClr xmlns:ahyp="http://schemas.microsoft.com/office/drawing/2018/hyperlinkcolor" val="tx"/>
                  </a:ext>
                </a:extLst>
              </a:hlinkClick>
            </a:rPr>
            <a:t>Texas Education for Homeless Children and Youth (TEHCY) Program</a:t>
          </a:r>
          <a:endParaRPr lang="en-US" sz="1600" kern="1200">
            <a:latin typeface="Arial"/>
            <a:cs typeface="Arial"/>
          </a:endParaRPr>
        </a:p>
        <a:p>
          <a:pPr marL="114300" lvl="1" indent="-114300" algn="l" defTabSz="622300">
            <a:lnSpc>
              <a:spcPct val="90000"/>
            </a:lnSpc>
            <a:spcBef>
              <a:spcPct val="0"/>
            </a:spcBef>
            <a:spcAft>
              <a:spcPct val="15000"/>
            </a:spcAft>
            <a:buChar char="•"/>
          </a:pPr>
          <a:r>
            <a:rPr lang="en-US" sz="1400" kern="1200">
              <a:hlinkClick xmlns:r="http://schemas.openxmlformats.org/officeDocument/2006/relationships" r:id="rId8"/>
            </a:rPr>
            <a:t>HomelessEducation@tea.texas.gov</a:t>
          </a:r>
          <a:endParaRPr lang="en-US" sz="1400" kern="1200">
            <a:latin typeface="Arial" panose="020B0604020202020204" pitchFamily="34" charset="0"/>
            <a:cs typeface="Arial" panose="020B0604020202020204" pitchFamily="34" charset="0"/>
          </a:endParaRPr>
        </a:p>
      </dsp:txBody>
      <dsp:txXfrm>
        <a:off x="995230" y="3386558"/>
        <a:ext cx="7056187" cy="677550"/>
      </dsp:txXfrm>
    </dsp:sp>
    <dsp:sp modelId="{BD8C265F-1A38-47AF-8A1C-09754E58FDEB}">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054A985-56C9-45DC-B87A-0BD635841BB4}">
      <dsp:nvSpPr>
        <dsp:cNvPr id="0" name=""/>
        <dsp:cNvSpPr/>
      </dsp:nvSpPr>
      <dsp:spPr>
        <a:xfrm>
          <a:off x="509717" y="4402558"/>
          <a:ext cx="7541700" cy="677550"/>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35560" rIns="35560" bIns="35560" numCol="1" spcCol="1270" anchor="t" anchorCtr="0">
          <a:noAutofit/>
        </a:bodyPr>
        <a:lstStyle/>
        <a:p>
          <a:pPr marL="0" lvl="0" indent="0" algn="l" defTabSz="711200">
            <a:lnSpc>
              <a:spcPct val="90000"/>
            </a:lnSpc>
            <a:spcBef>
              <a:spcPct val="0"/>
            </a:spcBef>
            <a:spcAft>
              <a:spcPct val="35000"/>
            </a:spcAft>
            <a:buNone/>
          </a:pPr>
          <a:r>
            <a:rPr lang="en-US" sz="1600" kern="1200">
              <a:latin typeface="Arial"/>
              <a:cs typeface="Arial"/>
              <a:hlinkClick xmlns:r="http://schemas.openxmlformats.org/officeDocument/2006/relationships" r:id="rId9">
                <a:extLst>
                  <a:ext uri="{A12FA001-AC4F-418D-AE19-62706E023703}">
                    <ahyp:hlinkClr xmlns:ahyp="http://schemas.microsoft.com/office/drawing/2018/hyperlinkcolor" val="tx"/>
                  </a:ext>
                </a:extLst>
              </a:hlinkClick>
            </a:rPr>
            <a:t>Child Abuse and Neglect Awareness</a:t>
          </a:r>
          <a:endParaRPr lang="en-US" sz="1600" kern="1200">
            <a:latin typeface="Arial"/>
            <a:cs typeface="Arial"/>
          </a:endParaRPr>
        </a:p>
        <a:p>
          <a:pPr marL="114300" lvl="1" indent="-114300" algn="l" defTabSz="622300" rtl="0">
            <a:lnSpc>
              <a:spcPct val="90000"/>
            </a:lnSpc>
            <a:spcBef>
              <a:spcPct val="0"/>
            </a:spcBef>
            <a:spcAft>
              <a:spcPct val="15000"/>
            </a:spcAft>
            <a:buChar char="•"/>
          </a:pPr>
          <a:r>
            <a:rPr lang="en-US" sz="1400" kern="1200">
              <a:hlinkClick xmlns:r="http://schemas.openxmlformats.org/officeDocument/2006/relationships" r:id="rId10"/>
            </a:rPr>
            <a:t>PreventingHumanTrafficking@tea.texas.gov</a:t>
          </a:r>
          <a:r>
            <a:rPr lang="en-US" sz="1400" kern="1200">
              <a:latin typeface="Arial"/>
              <a:cs typeface="Arial"/>
              <a:hlinkClick xmlns:r="http://schemas.openxmlformats.org/officeDocument/2006/relationships" r:id="rId9">
                <a:extLst>
                  <a:ext uri="{A12FA001-AC4F-418D-AE19-62706E023703}">
                    <ahyp:hlinkClr xmlns:ahyp="http://schemas.microsoft.com/office/drawing/2018/hyperlinkcolor" val="tx"/>
                  </a:ext>
                </a:extLst>
              </a:hlinkClick>
            </a:rPr>
            <a:t> </a:t>
          </a:r>
          <a:endParaRPr lang="en-US" sz="1400" kern="1200">
            <a:latin typeface="Arial" panose="020B0604020202020204" pitchFamily="34" charset="0"/>
            <a:cs typeface="Arial" panose="020B0604020202020204" pitchFamily="34" charset="0"/>
          </a:endParaRPr>
        </a:p>
      </dsp:txBody>
      <dsp:txXfrm>
        <a:off x="509717" y="4402558"/>
        <a:ext cx="7541700" cy="677550"/>
      </dsp:txXfrm>
    </dsp:sp>
    <dsp:sp modelId="{DC056E3F-2CA8-42BF-8EB5-B405D7A61920}">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3148</cdr:x>
      <cdr:y>0.8121</cdr:y>
    </cdr:from>
    <cdr:to>
      <cdr:x>0.83178</cdr:x>
      <cdr:y>1</cdr:y>
    </cdr:to>
    <cdr:sp macro="" textlink="">
      <cdr:nvSpPr>
        <cdr:cNvPr id="2" name="TextBox 1">
          <a:extLst xmlns:a="http://schemas.openxmlformats.org/drawingml/2006/main">
            <a:ext uri="{FF2B5EF4-FFF2-40B4-BE49-F238E27FC236}">
              <a16:creationId xmlns:a16="http://schemas.microsoft.com/office/drawing/2014/main" id="{E4F431FD-4620-467D-B247-F32F4AD4FBB2}"/>
            </a:ext>
          </a:extLst>
        </cdr:cNvPr>
        <cdr:cNvSpPr txBox="1"/>
      </cdr:nvSpPr>
      <cdr:spPr>
        <a:xfrm xmlns:a="http://schemas.openxmlformats.org/drawingml/2006/main">
          <a:off x="7946264" y="3951975"/>
          <a:ext cx="1089581"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75541</cdr:x>
      <cdr:y>0.8121</cdr:y>
    </cdr:from>
    <cdr:to>
      <cdr:x>0.83959</cdr:x>
      <cdr:y>1</cdr:y>
    </cdr:to>
    <cdr:sp macro="" textlink="">
      <cdr:nvSpPr>
        <cdr:cNvPr id="3" name="TextBox 2">
          <a:extLst xmlns:a="http://schemas.openxmlformats.org/drawingml/2006/main">
            <a:ext uri="{FF2B5EF4-FFF2-40B4-BE49-F238E27FC236}">
              <a16:creationId xmlns:a16="http://schemas.microsoft.com/office/drawing/2014/main" id="{0F34EF9F-BE35-4993-96C3-5C117E2C90FB}"/>
            </a:ext>
          </a:extLst>
        </cdr:cNvPr>
        <cdr:cNvSpPr txBox="1"/>
      </cdr:nvSpPr>
      <cdr:spPr>
        <a:xfrm xmlns:a="http://schemas.openxmlformats.org/drawingml/2006/main">
          <a:off x="8206287" y="395197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cdr:x>
      <cdr:y>0.098</cdr:y>
    </cdr:from>
    <cdr:to>
      <cdr:x>0.6516</cdr:x>
      <cdr:y>0.27258</cdr:y>
    </cdr:to>
    <cdr:sp macro="" textlink="">
      <cdr:nvSpPr>
        <cdr:cNvPr id="5" name="TextBox 4">
          <a:extLst xmlns:a="http://schemas.openxmlformats.org/drawingml/2006/main">
            <a:ext uri="{FF2B5EF4-FFF2-40B4-BE49-F238E27FC236}">
              <a16:creationId xmlns:a16="http://schemas.microsoft.com/office/drawing/2014/main" id="{D937F9D0-5A51-482A-B94B-27F84D97C4F9}"/>
            </a:ext>
          </a:extLst>
        </cdr:cNvPr>
        <cdr:cNvSpPr txBox="1"/>
      </cdr:nvSpPr>
      <cdr:spPr>
        <a:xfrm xmlns:a="http://schemas.openxmlformats.org/drawingml/2006/main">
          <a:off x="3015764" y="51328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8881</cdr:x>
      <cdr:y>0.06684</cdr:y>
    </cdr:from>
    <cdr:to>
      <cdr:x>0.96653</cdr:x>
      <cdr:y>1</cdr:y>
    </cdr:to>
    <cdr:sp macro="" textlink="">
      <cdr:nvSpPr>
        <cdr:cNvPr id="4" name="Rectangle: Rounded Corners 3">
          <a:extLst xmlns:a="http://schemas.openxmlformats.org/drawingml/2006/main">
            <a:ext uri="{FF2B5EF4-FFF2-40B4-BE49-F238E27FC236}">
              <a16:creationId xmlns:a16="http://schemas.microsoft.com/office/drawing/2014/main" id="{CF4E5BDA-7944-41DC-9E54-F263C5DD681F}"/>
            </a:ext>
          </a:extLst>
        </cdr:cNvPr>
        <cdr:cNvSpPr/>
      </cdr:nvSpPr>
      <cdr:spPr>
        <a:xfrm xmlns:a="http://schemas.openxmlformats.org/drawingml/2006/main">
          <a:off x="923957" y="336630"/>
          <a:ext cx="9131808" cy="4699644"/>
        </a:xfrm>
        <a:prstGeom xmlns:a="http://schemas.openxmlformats.org/drawingml/2006/main" prst="roundRect">
          <a:avLst/>
        </a:prstGeom>
        <a:noFill xmlns:a="http://schemas.openxmlformats.org/drawingml/2006/main"/>
        <a:ln xmlns:a="http://schemas.openxmlformats.org/drawingml/2006/main" w="19050">
          <a:solidFill>
            <a:schemeClr val="accent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1846203-39AF-80E5-5662-7BC63720340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6E9F02B-FC99-0EB2-6E1B-9E68B42FBD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A478152-1440-4165-AB27-91EE35EC2026}" type="datetimeFigureOut">
              <a:rPr lang="en-US" smtClean="0"/>
              <a:t>3/20/2023</a:t>
            </a:fld>
            <a:endParaRPr lang="en-US"/>
          </a:p>
        </p:txBody>
      </p:sp>
      <p:sp>
        <p:nvSpPr>
          <p:cNvPr id="4" name="Footer Placeholder 3">
            <a:extLst>
              <a:ext uri="{FF2B5EF4-FFF2-40B4-BE49-F238E27FC236}">
                <a16:creationId xmlns:a16="http://schemas.microsoft.com/office/drawing/2014/main" id="{AFED02FA-79A5-2B34-7867-8D2356D7C3B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135061B-4D07-2190-B956-16C1C37129F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0CA10B-A3CE-4465-BE29-22F1E1D24D41}" type="slidenum">
              <a:rPr lang="en-US" smtClean="0"/>
              <a:t>‹#›</a:t>
            </a:fld>
            <a:endParaRPr lang="en-US"/>
          </a:p>
        </p:txBody>
      </p:sp>
    </p:spTree>
    <p:extLst>
      <p:ext uri="{BB962C8B-B14F-4D97-AF65-F5344CB8AC3E}">
        <p14:creationId xmlns:p14="http://schemas.microsoft.com/office/powerpoint/2010/main" val="20163006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56DC8E-4455-4869-BEF7-39720C5E0879}" type="datetimeFigureOut">
              <a:rPr lang="en-US" smtClean="0"/>
              <a:t>3/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4C3E89-C7EA-4C6D-94F3-C70741DE2EFB}" type="slidenum">
              <a:rPr lang="en-US" smtClean="0"/>
              <a:t>‹#›</a:t>
            </a:fld>
            <a:endParaRPr lang="en-US"/>
          </a:p>
        </p:txBody>
      </p:sp>
    </p:spTree>
    <p:extLst>
      <p:ext uri="{BB962C8B-B14F-4D97-AF65-F5344CB8AC3E}">
        <p14:creationId xmlns:p14="http://schemas.microsoft.com/office/powerpoint/2010/main" val="3760476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K Intro (Welcome – allow 1-2 min for folks to come on) (get green light from JB) </a:t>
            </a:r>
          </a:p>
          <a:p>
            <a:endParaRPr lang="en-US"/>
          </a:p>
          <a:p>
            <a:r>
              <a:rPr lang="en-US"/>
              <a:t>Discuss each section’s takeaway. </a:t>
            </a:r>
          </a:p>
          <a:p>
            <a:endParaRPr lang="en-US"/>
          </a:p>
          <a:p>
            <a:r>
              <a:rPr lang="en-US"/>
              <a:t>Good afternoon. Thank you for joining us today for our 2</a:t>
            </a:r>
            <a:r>
              <a:rPr lang="en-US" baseline="30000"/>
              <a:t>nd</a:t>
            </a:r>
            <a:r>
              <a:rPr lang="en-US"/>
              <a:t> quarterly webinar. As we allow a few minutes for others to join, we just want to let you know that we appreciate you all for being with us today and our hope is that the information we share with you today can assist you in the work you do daily with our parents, teachers, campus and district leadership, support staff, other stakeholders, but most importantly we hope that the work we do together serves as a great benefit to our students. So, let’s get started! </a:t>
            </a:r>
          </a:p>
          <a:p>
            <a:endParaRPr lang="en-US"/>
          </a:p>
        </p:txBody>
      </p:sp>
      <p:sp>
        <p:nvSpPr>
          <p:cNvPr id="4" name="Slide Number Placeholder 3"/>
          <p:cNvSpPr>
            <a:spLocks noGrp="1"/>
          </p:cNvSpPr>
          <p:nvPr>
            <p:ph type="sldNum" sz="quarter" idx="5"/>
          </p:nvPr>
        </p:nvSpPr>
        <p:spPr/>
        <p:txBody>
          <a:bodyPr/>
          <a:lstStyle/>
          <a:p>
            <a:fld id="{B34C3E89-C7EA-4C6D-94F3-C70741DE2EFB}" type="slidenum">
              <a:rPr lang="en-US" smtClean="0"/>
              <a:t>1</a:t>
            </a:fld>
            <a:endParaRPr lang="en-US"/>
          </a:p>
        </p:txBody>
      </p:sp>
    </p:spTree>
    <p:extLst>
      <p:ext uri="{BB962C8B-B14F-4D97-AF65-F5344CB8AC3E}">
        <p14:creationId xmlns:p14="http://schemas.microsoft.com/office/powerpoint/2010/main" val="12091695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1"/>
        <p:cNvGrpSpPr/>
        <p:nvPr/>
      </p:nvGrpSpPr>
      <p:grpSpPr>
        <a:xfrm>
          <a:off x="0" y="0"/>
          <a:ext cx="0" cy="0"/>
          <a:chOff x="0" y="0"/>
          <a:chExt cx="0" cy="0"/>
        </a:xfrm>
      </p:grpSpPr>
      <p:sp>
        <p:nvSpPr>
          <p:cNvPr id="552" name="Shape 552"/>
          <p:cNvSpPr txBox="1">
            <a:spLocks noGrp="1"/>
          </p:cNvSpPr>
          <p:nvPr>
            <p:ph type="body" idx="1"/>
          </p:nvPr>
        </p:nvSpPr>
        <p:spPr>
          <a:xfrm>
            <a:off x="701041" y="4415790"/>
            <a:ext cx="5608319" cy="4480560"/>
          </a:xfrm>
          <a:prstGeom prst="rect">
            <a:avLst/>
          </a:prstGeom>
        </p:spPr>
        <p:txBody>
          <a:bodyPr lIns="93162" tIns="93162" rIns="93162" bIns="93162" anchor="t" anchorCtr="0">
            <a:noAutofit/>
          </a:bodyPr>
          <a:lstStyle/>
          <a:p>
            <a:r>
              <a:rPr lang="en-US"/>
              <a:t>Who ensures this process is completed? </a:t>
            </a:r>
          </a:p>
          <a:p>
            <a:r>
              <a:rPr lang="en-US"/>
              <a:t>LEA McKinney-Vento liaisons facilitate identification of students experiencing homelessness by providing:</a:t>
            </a:r>
          </a:p>
          <a:p>
            <a:pPr marL="171450" indent="-171450">
              <a:buFont typeface="Arial" panose="020B0604020202020204" pitchFamily="34" charset="0"/>
              <a:buChar char="•"/>
            </a:pPr>
            <a:r>
              <a:rPr lang="en-US"/>
              <a:t>Identification procedures</a:t>
            </a:r>
          </a:p>
          <a:p>
            <a:pPr marL="171450" indent="-171450">
              <a:buFont typeface="Arial" panose="020B0604020202020204" pitchFamily="34" charset="0"/>
              <a:buChar char="•"/>
            </a:pPr>
            <a:r>
              <a:rPr lang="en-US"/>
              <a:t>Training of LEA staff</a:t>
            </a:r>
          </a:p>
          <a:p>
            <a:pPr marL="171450" indent="-171450">
              <a:buFont typeface="Arial" panose="020B0604020202020204" pitchFamily="34" charset="0"/>
              <a:buChar char="•"/>
            </a:pPr>
            <a:r>
              <a:rPr lang="en-US"/>
              <a:t>Awareness materials and </a:t>
            </a:r>
          </a:p>
          <a:p>
            <a:pPr marL="171450" indent="-171450">
              <a:buFont typeface="Arial" panose="020B0604020202020204" pitchFamily="34" charset="0"/>
              <a:buChar char="•"/>
            </a:pPr>
            <a:r>
              <a:rPr lang="en-US"/>
              <a:t>Collaborate with the community.</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Reach out to your McKinney-Vento liaison with any questions on this process. You can find their contact information on your LEA McKinney-Vento webpage, or the Regional ESC McKinney-Vento webpage.</a:t>
            </a:r>
          </a:p>
          <a:p>
            <a:pPr marL="0" indent="0">
              <a:buFont typeface="Arial" panose="020B0604020202020204" pitchFamily="34" charset="0"/>
              <a:buNone/>
            </a:pPr>
            <a:endParaRPr lang="en-US" sz="1000" baseline="0"/>
          </a:p>
        </p:txBody>
      </p:sp>
      <p:sp>
        <p:nvSpPr>
          <p:cNvPr id="553" name="Shape 553"/>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1252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1200"/>
              </a:spcAft>
              <a:buClr>
                <a:srgbClr val="0781A6"/>
              </a:buClr>
              <a:buNone/>
              <a:defRPr/>
            </a:pPr>
            <a:r>
              <a:rPr lang="en-US" sz="1200" b="1"/>
              <a:t>Timeframes for identification</a:t>
            </a:r>
          </a:p>
          <a:p>
            <a:pPr marL="0" indent="0">
              <a:spcBef>
                <a:spcPts val="0"/>
              </a:spcBef>
              <a:spcAft>
                <a:spcPts val="1200"/>
              </a:spcAft>
              <a:buClr>
                <a:srgbClr val="0781A6"/>
              </a:buClr>
              <a:buNone/>
              <a:defRPr/>
            </a:pPr>
            <a:r>
              <a:rPr lang="en-US" sz="1200" b="0"/>
              <a:t>LEAs should have processes and strategies in place to identify students experiencing homelessness: </a:t>
            </a:r>
          </a:p>
          <a:p>
            <a:pPr marL="171450" indent="-171450">
              <a:spcBef>
                <a:spcPts val="0"/>
              </a:spcBef>
              <a:spcAft>
                <a:spcPts val="1200"/>
              </a:spcAft>
              <a:buFont typeface="Arial" panose="020B0604020202020204" pitchFamily="34" charset="0"/>
              <a:buChar char="•"/>
              <a:defRPr/>
            </a:pPr>
            <a:r>
              <a:rPr lang="en-US" sz="1200"/>
              <a:t>Upon enrollment</a:t>
            </a:r>
          </a:p>
          <a:p>
            <a:pPr marL="171450" lvl="0" indent="-171450" defTabSz="914400">
              <a:spcBef>
                <a:spcPts val="0"/>
              </a:spcBef>
              <a:spcAft>
                <a:spcPts val="1200"/>
              </a:spcAft>
              <a:buFont typeface="Arial" panose="020B0604020202020204" pitchFamily="34" charset="0"/>
              <a:buChar char="•"/>
              <a:defRPr/>
            </a:pPr>
            <a:r>
              <a:rPr lang="en-US" sz="1200"/>
              <a:t>Anytime during the school year </a:t>
            </a:r>
          </a:p>
          <a:p>
            <a:pPr marL="171450" lvl="0" indent="-171450" defTabSz="914400">
              <a:spcBef>
                <a:spcPts val="0"/>
              </a:spcBef>
              <a:spcAft>
                <a:spcPts val="1200"/>
              </a:spcAft>
              <a:buFont typeface="Arial" panose="020B0604020202020204" pitchFamily="34" charset="0"/>
              <a:buChar char="•"/>
              <a:defRPr/>
            </a:pPr>
            <a:r>
              <a:rPr lang="en-US" sz="1200"/>
              <a:t>In the event of a natural disaster</a:t>
            </a: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a:p>
        </p:txBody>
      </p:sp>
    </p:spTree>
    <p:extLst>
      <p:ext uri="{BB962C8B-B14F-4D97-AF65-F5344CB8AC3E}">
        <p14:creationId xmlns:p14="http://schemas.microsoft.com/office/powerpoint/2010/main" val="12722214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n-lt"/>
                <a:ea typeface="Calibri" charset="0"/>
                <a:cs typeface="Calibri" charset="0"/>
              </a:rPr>
              <a:t>Unaccompanied youth includes a homeless child or youth not in the physical custody of a parent or guardi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n-lt"/>
                <a:ea typeface="Calibri" charset="0"/>
                <a:cs typeface="Calibri" charset="0"/>
              </a:rPr>
              <a:t>Often secondary students, but elementary and middle school students can also be considered U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n-lt"/>
                <a:cs typeface="Calibri" charset="0"/>
              </a:rPr>
              <a:t>Have a conversation with your students.</a:t>
            </a:r>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3</a:t>
            </a:fld>
            <a:endParaRPr lang="en-US"/>
          </a:p>
        </p:txBody>
      </p:sp>
    </p:spTree>
    <p:extLst>
      <p:ext uri="{BB962C8B-B14F-4D97-AF65-F5344CB8AC3E}">
        <p14:creationId xmlns:p14="http://schemas.microsoft.com/office/powerpoint/2010/main" val="4197191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a:solidFill>
                  <a:schemeClr val="tx1"/>
                </a:solidFill>
                <a:effectLst/>
                <a:latin typeface="Calibri" panose="020F0502020204030204" pitchFamily="34" charset="0"/>
                <a:ea typeface="Calibri" panose="020F0502020204030204" pitchFamily="34" charset="0"/>
                <a:cs typeface="Calibri" panose="020F0502020204030204" pitchFamily="34" charset="0"/>
              </a:rPr>
              <a:t>The SRQ is a recommended best practice to assist with the identification of students experiencing homelessness. Utilization of the SRQ provides an audible and systematic process to determine McKinney-Vento eligibility for housing determination each year.</a:t>
            </a:r>
            <a:endParaRPr lang="en-US" sz="1600" b="0">
              <a:solidFill>
                <a:schemeClr val="tx1"/>
              </a:solidFill>
              <a:latin typeface="Arial" panose="020B0604020202020204" pitchFamily="34" charset="0"/>
              <a:ea typeface="Calibri" charset="0"/>
              <a:cs typeface="Arial" panose="020B0604020202020204" pitchFamily="34" charset="0"/>
            </a:endParaRPr>
          </a:p>
          <a:p>
            <a:pPr lvl="0"/>
            <a:r>
              <a:rPr lang="en-US" sz="1600" b="0">
                <a:solidFill>
                  <a:schemeClr val="tx1"/>
                </a:solidFill>
                <a:latin typeface="Arial" panose="020B0604020202020204" pitchFamily="34" charset="0"/>
                <a:ea typeface="Calibri" charset="0"/>
                <a:cs typeface="Arial" panose="020B0604020202020204" pitchFamily="34" charset="0"/>
              </a:rPr>
              <a:t>McKinney-Vento Eligibility should be made on a case-be case basis</a:t>
            </a:r>
          </a:p>
          <a:p>
            <a:pPr lvl="0"/>
            <a:r>
              <a:rPr lang="en-US" sz="1600" b="0">
                <a:solidFill>
                  <a:schemeClr val="tx1"/>
                </a:solidFill>
                <a:latin typeface="Arial" panose="020B0604020202020204" pitchFamily="34" charset="0"/>
                <a:ea typeface="Calibri" charset="0"/>
                <a:cs typeface="Arial" panose="020B0604020202020204" pitchFamily="34" charset="0"/>
              </a:rPr>
              <a:t>Helps consider the unique circumstances of each student.</a:t>
            </a:r>
          </a:p>
          <a:p>
            <a:pPr lvl="0"/>
            <a:endParaRPr lang="en-US" sz="1800" b="1">
              <a:solidFill>
                <a:schemeClr val="bg1"/>
              </a:solidFill>
              <a:latin typeface="Arial" panose="020B0604020202020204" pitchFamily="34" charset="0"/>
              <a:ea typeface="Calibri" charset="0"/>
              <a:cs typeface="Arial" panose="020B0604020202020204" pitchFamily="34" charset="0"/>
            </a:endParaRPr>
          </a:p>
          <a:p>
            <a:pPr lvl="0"/>
            <a:endParaRPr lang="en-US" sz="1800" b="1">
              <a:solidFill>
                <a:schemeClr val="bg1"/>
              </a:solidFill>
              <a:latin typeface="Arial" panose="020B0604020202020204" pitchFamily="34" charset="0"/>
              <a:ea typeface="Calibri"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E4D9ABE-7AB9-4D3A-BEA5-45E799BD6C0E}" type="slidenum">
              <a:rPr lang="en-US" smtClean="0"/>
              <a:t>14</a:t>
            </a:fld>
            <a:endParaRPr lang="en-US"/>
          </a:p>
        </p:txBody>
      </p:sp>
    </p:spTree>
    <p:extLst>
      <p:ext uri="{BB962C8B-B14F-4D97-AF65-F5344CB8AC3E}">
        <p14:creationId xmlns:p14="http://schemas.microsoft.com/office/powerpoint/2010/main" val="42055031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Shape 87"/>
          <p:cNvSpPr txBox="1">
            <a:spLocks noGrp="1"/>
          </p:cNvSpPr>
          <p:nvPr>
            <p:ph type="body" idx="1"/>
          </p:nvPr>
        </p:nvSpPr>
        <p:spPr>
          <a:xfrm>
            <a:off x="701041" y="4415790"/>
            <a:ext cx="5608319" cy="4183380"/>
          </a:xfrm>
          <a:prstGeom prst="rect">
            <a:avLst/>
          </a:prstGeom>
        </p:spPr>
        <p:txBody>
          <a:bodyPr lIns="93162" tIns="93162" rIns="93162" bIns="93162" anchor="t" anchorCtr="0">
            <a:noAutofit/>
          </a:bodyPr>
          <a:lstStyle/>
          <a:p>
            <a:r>
              <a:rPr lang="en-US"/>
              <a:t>Another identification strategy to compliment the SRQ form.</a:t>
            </a:r>
          </a:p>
          <a:p>
            <a:endParaRPr lang="en-US"/>
          </a:p>
          <a:p>
            <a:r>
              <a:rPr lang="en-US"/>
              <a:t>Use the intake form to clarify responses on the SRQ to determine identification and program services.  The intake form is a great tool to ensure that all eligible students in a family are identified.  </a:t>
            </a:r>
          </a:p>
          <a:p>
            <a:endParaRPr lang="en-US"/>
          </a:p>
        </p:txBody>
      </p:sp>
      <p:sp>
        <p:nvSpPr>
          <p:cNvPr id="88" name="Shape 88"/>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559193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Shape 87"/>
          <p:cNvSpPr txBox="1">
            <a:spLocks noGrp="1"/>
          </p:cNvSpPr>
          <p:nvPr>
            <p:ph type="body" idx="1"/>
          </p:nvPr>
        </p:nvSpPr>
        <p:spPr>
          <a:xfrm>
            <a:off x="701041" y="4415790"/>
            <a:ext cx="5608319" cy="4183380"/>
          </a:xfrm>
          <a:prstGeom prst="rect">
            <a:avLst/>
          </a:prstGeom>
        </p:spPr>
        <p:txBody>
          <a:bodyPr lIns="93162" tIns="93162" rIns="93162" bIns="93162" anchor="t" anchorCtr="0">
            <a:noAutofit/>
          </a:bodyPr>
          <a:lstStyle/>
          <a:p>
            <a:pPr marL="0" lvl="1"/>
            <a:r>
              <a:rPr lang="en-US"/>
              <a:t>The second page of the intake form assists with reviewing and documenting the services provided to the student such as school of origin transportation, free lunch program, etc. </a:t>
            </a:r>
          </a:p>
          <a:p>
            <a:pPr marL="0" lvl="1"/>
            <a:endParaRPr lang="en-US"/>
          </a:p>
          <a:p>
            <a:pPr marL="0" lvl="1"/>
            <a:r>
              <a:rPr lang="en-US"/>
              <a:t>SRQs along with intake forms are auditable documentation of identification or disqualification of MV program services. This sample form can be adapted to fit your LEA needs. </a:t>
            </a:r>
          </a:p>
        </p:txBody>
      </p:sp>
      <p:sp>
        <p:nvSpPr>
          <p:cNvPr id="88" name="Shape 88"/>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513254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34C3E89-C7EA-4C6D-94F3-C70741DE2EFB}" type="slidenum">
              <a:rPr lang="en-US" smtClean="0"/>
              <a:t>18</a:t>
            </a:fld>
            <a:endParaRPr lang="en-US"/>
          </a:p>
        </p:txBody>
      </p:sp>
    </p:spTree>
    <p:extLst>
      <p:ext uri="{BB962C8B-B14F-4D97-AF65-F5344CB8AC3E}">
        <p14:creationId xmlns:p14="http://schemas.microsoft.com/office/powerpoint/2010/main" val="24464424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EHCY/ARP Homeless I Grant Coffee Chat has been rescheduled from March 7</a:t>
            </a:r>
            <a:r>
              <a:rPr lang="en-US" baseline="30000"/>
              <a:t>th</a:t>
            </a:r>
            <a:r>
              <a:rPr lang="en-US"/>
              <a:t> to March 21</a:t>
            </a:r>
            <a:r>
              <a:rPr lang="en-US" baseline="30000"/>
              <a:t>st</a:t>
            </a:r>
            <a:r>
              <a:rPr lang="en-US"/>
              <a:t>, 2023, during the same time of day.</a:t>
            </a:r>
          </a:p>
          <a:p>
            <a:endParaRPr lang="en-US"/>
          </a:p>
        </p:txBody>
      </p:sp>
      <p:sp>
        <p:nvSpPr>
          <p:cNvPr id="4" name="Slide Number Placeholder 3"/>
          <p:cNvSpPr>
            <a:spLocks noGrp="1"/>
          </p:cNvSpPr>
          <p:nvPr>
            <p:ph type="sldNum" sz="quarter" idx="5"/>
          </p:nvPr>
        </p:nvSpPr>
        <p:spPr/>
        <p:txBody>
          <a:bodyPr/>
          <a:lstStyle/>
          <a:p>
            <a:fld id="{B34C3E89-C7EA-4C6D-94F3-C70741DE2EFB}" type="slidenum">
              <a:rPr lang="en-US" smtClean="0"/>
              <a:t>21</a:t>
            </a:fld>
            <a:endParaRPr lang="en-US"/>
          </a:p>
        </p:txBody>
      </p:sp>
    </p:spTree>
    <p:extLst>
      <p:ext uri="{BB962C8B-B14F-4D97-AF65-F5344CB8AC3E}">
        <p14:creationId xmlns:p14="http://schemas.microsoft.com/office/powerpoint/2010/main" val="719753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Upcoming HMAR webinars- save the date </a:t>
            </a:r>
          </a:p>
        </p:txBody>
      </p:sp>
      <p:sp>
        <p:nvSpPr>
          <p:cNvPr id="4" name="Slide Number Placeholder 3"/>
          <p:cNvSpPr>
            <a:spLocks noGrp="1"/>
          </p:cNvSpPr>
          <p:nvPr>
            <p:ph type="sldNum" sz="quarter" idx="5"/>
          </p:nvPr>
        </p:nvSpPr>
        <p:spPr/>
        <p:txBody>
          <a:bodyPr/>
          <a:lstStyle/>
          <a:p>
            <a:fld id="{B34C3E89-C7EA-4C6D-94F3-C70741DE2EFB}" type="slidenum">
              <a:rPr lang="en-US" smtClean="0"/>
              <a:t>22</a:t>
            </a:fld>
            <a:endParaRPr lang="en-US"/>
          </a:p>
        </p:txBody>
      </p:sp>
    </p:spTree>
    <p:extLst>
      <p:ext uri="{BB962C8B-B14F-4D97-AF65-F5344CB8AC3E}">
        <p14:creationId xmlns:p14="http://schemas.microsoft.com/office/powerpoint/2010/main" val="18736326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A emails for each program area </a:t>
            </a:r>
          </a:p>
        </p:txBody>
      </p:sp>
      <p:sp>
        <p:nvSpPr>
          <p:cNvPr id="4" name="Slide Number Placeholder 3"/>
          <p:cNvSpPr>
            <a:spLocks noGrp="1"/>
          </p:cNvSpPr>
          <p:nvPr>
            <p:ph type="sldNum" sz="quarter" idx="5"/>
          </p:nvPr>
        </p:nvSpPr>
        <p:spPr/>
        <p:txBody>
          <a:bodyPr/>
          <a:lstStyle/>
          <a:p>
            <a:fld id="{B34C3E89-C7EA-4C6D-94F3-C70741DE2EFB}" type="slidenum">
              <a:rPr lang="en-US" smtClean="0"/>
              <a:t>23</a:t>
            </a:fld>
            <a:endParaRPr lang="en-US"/>
          </a:p>
        </p:txBody>
      </p:sp>
    </p:spTree>
    <p:extLst>
      <p:ext uri="{BB962C8B-B14F-4D97-AF65-F5344CB8AC3E}">
        <p14:creationId xmlns:p14="http://schemas.microsoft.com/office/powerpoint/2010/main" val="2327651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Team  Introductions/Each team member introduce themselv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a:p>
            <a:r>
              <a:rPr lang="en-US">
                <a:cs typeface="Calibri"/>
              </a:rPr>
              <a:t>Before we get started with our presentation today, let’s take a moment for our Team members to introduce themselves. Again, we are the Highly Mobile and At-Risk Student Programs Division under the leadership of our Director, Ms. Kelly Kravitz. Ms. Kravitz was unable to be here with us today, but many of you know her. She has been here at the agency for 10 years and done tremendous work in these areas that are part of the HMAR division. With that, I’ll turn it over to Cal Lopez &gt; Jordan Brown &gt; Dr. LaTrenda Watson &gt; Dr. Jimmy Bowser. </a:t>
            </a:r>
          </a:p>
        </p:txBody>
      </p:sp>
      <p:sp>
        <p:nvSpPr>
          <p:cNvPr id="4" name="Slide Number Placeholder 3"/>
          <p:cNvSpPr>
            <a:spLocks noGrp="1"/>
          </p:cNvSpPr>
          <p:nvPr>
            <p:ph type="sldNum" sz="quarter" idx="5"/>
          </p:nvPr>
        </p:nvSpPr>
        <p:spPr/>
        <p:txBody>
          <a:bodyPr/>
          <a:lstStyle/>
          <a:p>
            <a:fld id="{825982B2-794F-4288-823A-A7123523A8CD}" type="slidenum">
              <a:rPr lang="en-US" smtClean="0"/>
              <a:t>2</a:t>
            </a:fld>
            <a:endParaRPr lang="en-US"/>
          </a:p>
        </p:txBody>
      </p:sp>
    </p:spTree>
    <p:extLst>
      <p:ext uri="{BB962C8B-B14F-4D97-AF65-F5344CB8AC3E}">
        <p14:creationId xmlns:p14="http://schemas.microsoft.com/office/powerpoint/2010/main" val="17210736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use on the slide moves to HM&amp;AR Link </a:t>
            </a:r>
            <a:r>
              <a:rPr lang="en-US">
                <a:sym typeface="Wingdings" panose="05000000000000000000" pitchFamily="2" charset="2"/>
              </a:rPr>
              <a:t> Student Programs Webinars  Program Newsletters (talk through each of them)</a:t>
            </a:r>
            <a:endParaRPr lang="en-US"/>
          </a:p>
          <a:p>
            <a:endParaRPr lang="en-US"/>
          </a:p>
          <a:p>
            <a:r>
              <a:rPr lang="en-US"/>
              <a:t>KK – Remind audience about our webpage and where to go for previous zooms and newsletters </a:t>
            </a:r>
          </a:p>
        </p:txBody>
      </p:sp>
      <p:sp>
        <p:nvSpPr>
          <p:cNvPr id="4" name="Slide Number Placeholder 3"/>
          <p:cNvSpPr>
            <a:spLocks noGrp="1"/>
          </p:cNvSpPr>
          <p:nvPr>
            <p:ph type="sldNum" sz="quarter" idx="5"/>
          </p:nvPr>
        </p:nvSpPr>
        <p:spPr/>
        <p:txBody>
          <a:bodyPr/>
          <a:lstStyle/>
          <a:p>
            <a:fld id="{B34C3E89-C7EA-4C6D-94F3-C70741DE2EFB}" type="slidenum">
              <a:rPr lang="en-US" smtClean="0"/>
              <a:t>24</a:t>
            </a:fld>
            <a:endParaRPr lang="en-US"/>
          </a:p>
        </p:txBody>
      </p:sp>
    </p:spTree>
    <p:extLst>
      <p:ext uri="{BB962C8B-B14F-4D97-AF65-F5344CB8AC3E}">
        <p14:creationId xmlns:p14="http://schemas.microsoft.com/office/powerpoint/2010/main" val="206873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l</a:t>
            </a:r>
          </a:p>
        </p:txBody>
      </p:sp>
      <p:sp>
        <p:nvSpPr>
          <p:cNvPr id="4" name="Slide Number Placeholder 3"/>
          <p:cNvSpPr>
            <a:spLocks noGrp="1"/>
          </p:cNvSpPr>
          <p:nvPr>
            <p:ph type="sldNum" sz="quarter" idx="5"/>
          </p:nvPr>
        </p:nvSpPr>
        <p:spPr/>
        <p:txBody>
          <a:bodyPr/>
          <a:lstStyle/>
          <a:p>
            <a:fld id="{B34C3E89-C7EA-4C6D-94F3-C70741DE2EFB}" type="slidenum">
              <a:rPr lang="en-US" smtClean="0"/>
              <a:t>25</a:t>
            </a:fld>
            <a:endParaRPr lang="en-US"/>
          </a:p>
        </p:txBody>
      </p:sp>
    </p:spTree>
    <p:extLst>
      <p:ext uri="{BB962C8B-B14F-4D97-AF65-F5344CB8AC3E}">
        <p14:creationId xmlns:p14="http://schemas.microsoft.com/office/powerpoint/2010/main" val="32740134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lease make sure to fill out survey Q/R code on left. Sign-up for Listservs on right </a:t>
            </a:r>
          </a:p>
          <a:p>
            <a:endParaRPr lang="en-US">
              <a:cs typeface="Calibri"/>
            </a:endParaRPr>
          </a:p>
          <a:p>
            <a:r>
              <a:rPr lang="en-US">
                <a:cs typeface="Calibri"/>
              </a:rPr>
              <a:t>Thank you for joining us! </a:t>
            </a:r>
          </a:p>
          <a:p>
            <a:endParaRPr lang="en-US">
              <a:cs typeface="Calibri"/>
            </a:endParaRPr>
          </a:p>
          <a:p>
            <a:r>
              <a:rPr lang="en-US">
                <a:cs typeface="Calibri"/>
              </a:rPr>
              <a:t>Have a wonderful Holiday season! Thank you for all that you do serve the students and families of Texas... </a:t>
            </a:r>
          </a:p>
        </p:txBody>
      </p:sp>
      <p:sp>
        <p:nvSpPr>
          <p:cNvPr id="4" name="Slide Number Placeholder 3"/>
          <p:cNvSpPr>
            <a:spLocks noGrp="1"/>
          </p:cNvSpPr>
          <p:nvPr>
            <p:ph type="sldNum" sz="quarter" idx="5"/>
          </p:nvPr>
        </p:nvSpPr>
        <p:spPr/>
        <p:txBody>
          <a:bodyPr/>
          <a:lstStyle/>
          <a:p>
            <a:fld id="{B34C3E89-C7EA-4C6D-94F3-C70741DE2EFB}" type="slidenum">
              <a:rPr lang="en-US" smtClean="0"/>
              <a:t>26</a:t>
            </a:fld>
            <a:endParaRPr lang="en-US"/>
          </a:p>
        </p:txBody>
      </p:sp>
    </p:spTree>
    <p:extLst>
      <p:ext uri="{BB962C8B-B14F-4D97-AF65-F5344CB8AC3E}">
        <p14:creationId xmlns:p14="http://schemas.microsoft.com/office/powerpoint/2010/main" val="2268142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B</a:t>
            </a:r>
          </a:p>
          <a:p>
            <a:r>
              <a:rPr lang="en-US"/>
              <a:t>Here is a look at the statewide identification of students experiencing homelessness, with recent 21-22 identification.</a:t>
            </a:r>
          </a:p>
          <a:p>
            <a:r>
              <a:rPr lang="en-US"/>
              <a:t>(Review color legend)</a:t>
            </a:r>
          </a:p>
          <a:p>
            <a:r>
              <a:rPr lang="en-US"/>
              <a:t>Typically, identification can increase during events like natural disasters (which can displace families). Recently, we have seen a decrease in identification due to COVID-19, and in the next year. But we also know that overall enrollment has dropped, so it’s important to look at the percentage of students as part of the whole state population. </a:t>
            </a:r>
          </a:p>
          <a:p>
            <a:endParaRPr lang="en-US"/>
          </a:p>
          <a:p>
            <a:pPr algn="l" rtl="0" fontAlgn="base"/>
            <a:r>
              <a:rPr lang="en-US" sz="1800" b="0" i="0" u="none" strike="noStrike">
                <a:solidFill>
                  <a:srgbClr val="000000"/>
                </a:solidFill>
                <a:effectLst/>
                <a:latin typeface="Calibri" panose="020F0502020204030204" pitchFamily="34" charset="0"/>
              </a:rPr>
              <a:t>19-20 – About 2%</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20-21 – 1.75%</a:t>
            </a:r>
            <a:r>
              <a:rPr lang="en-US" sz="1800" b="0" i="0">
                <a:solidFill>
                  <a:srgbClr val="444444"/>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21-22 – 1.79%</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a:t>
            </a:fld>
            <a:endParaRPr lang="en-US"/>
          </a:p>
        </p:txBody>
      </p:sp>
    </p:spTree>
    <p:extLst>
      <p:ext uri="{BB962C8B-B14F-4D97-AF65-F5344CB8AC3E}">
        <p14:creationId xmlns:p14="http://schemas.microsoft.com/office/powerpoint/2010/main" val="927845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nSpc>
                <a:spcPct val="110000"/>
              </a:lnSpc>
            </a:pPr>
            <a:r>
              <a:rPr lang="en-US" b="1"/>
              <a:t>Children and youth who lack a fixed, regular, and adequate nighttime residence, including children and youth:</a:t>
            </a:r>
            <a:endParaRPr lang="en-US">
              <a:latin typeface="Arial Black" panose="020B0A04020102020204" pitchFamily="34" charset="0"/>
            </a:endParaRPr>
          </a:p>
          <a:p>
            <a:pPr lvl="2">
              <a:lnSpc>
                <a:spcPct val="110000"/>
              </a:lnSpc>
              <a:buClr>
                <a:schemeClr val="accent1"/>
              </a:buClr>
              <a:buFont typeface="Arial" panose="020B0604020202020204" pitchFamily="34" charset="0"/>
              <a:buChar char="•"/>
            </a:pPr>
            <a:r>
              <a:rPr lang="en-US">
                <a:latin typeface="+mn-lt"/>
                <a:ea typeface="Calibri" charset="0"/>
                <a:cs typeface="Arial" panose="020B0604020202020204" pitchFamily="34" charset="0"/>
              </a:rPr>
              <a:t>Sharing the housing of other persons due to the loss of housing, economic hardship, or similar reason</a:t>
            </a:r>
          </a:p>
          <a:p>
            <a:pPr lvl="2">
              <a:lnSpc>
                <a:spcPct val="110000"/>
              </a:lnSpc>
              <a:buClr>
                <a:schemeClr val="accent1"/>
              </a:buClr>
              <a:buFont typeface="Arial" panose="020B0604020202020204" pitchFamily="34" charset="0"/>
              <a:buChar char="•"/>
            </a:pPr>
            <a:r>
              <a:rPr lang="en-US">
                <a:latin typeface="+mn-lt"/>
                <a:ea typeface="Calibri" charset="0"/>
                <a:cs typeface="Arial" panose="020B0604020202020204" pitchFamily="34" charset="0"/>
              </a:rPr>
              <a:t>Living in motels, hotels, trailer parks, or camping grounds, due to the lack of alternative adequate accommodations</a:t>
            </a:r>
          </a:p>
          <a:p>
            <a:pPr lvl="2">
              <a:lnSpc>
                <a:spcPct val="110000"/>
              </a:lnSpc>
              <a:buClr>
                <a:schemeClr val="accent1"/>
              </a:buClr>
              <a:buFont typeface="Arial" panose="020B0604020202020204" pitchFamily="34" charset="0"/>
              <a:buChar char="•"/>
            </a:pPr>
            <a:r>
              <a:rPr lang="en-US">
                <a:latin typeface="+mn-lt"/>
                <a:ea typeface="Calibri" charset="0"/>
                <a:cs typeface="Arial" panose="020B0604020202020204" pitchFamily="34" charset="0"/>
              </a:rPr>
              <a:t>Living in emergency or transitional shelters, or are abandoned in hospitals</a:t>
            </a:r>
          </a:p>
          <a:p>
            <a:pPr lvl="2">
              <a:lnSpc>
                <a:spcPct val="110000"/>
              </a:lnSpc>
              <a:buClr>
                <a:schemeClr val="accent1"/>
              </a:buClr>
              <a:buFont typeface="Arial" panose="020B0604020202020204" pitchFamily="34" charset="0"/>
              <a:buChar char="•"/>
            </a:pPr>
            <a:r>
              <a:rPr lang="en-US">
                <a:latin typeface="+mn-lt"/>
                <a:ea typeface="Calibri" charset="0"/>
                <a:cs typeface="Calibri" charset="0"/>
              </a:rPr>
              <a:t>Living in a public or private place not designated for or ordinarily used as a regular sleeping accommodation for human beings</a:t>
            </a: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a:t>
            </a:fld>
            <a:endParaRPr lang="en-US"/>
          </a:p>
        </p:txBody>
      </p:sp>
    </p:spTree>
    <p:extLst>
      <p:ext uri="{BB962C8B-B14F-4D97-AF65-F5344CB8AC3E}">
        <p14:creationId xmlns:p14="http://schemas.microsoft.com/office/powerpoint/2010/main" val="3358452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nSpc>
                <a:spcPct val="110000"/>
              </a:lnSpc>
            </a:pPr>
            <a:r>
              <a:rPr lang="en-US" b="1">
                <a:latin typeface="+mn-lt"/>
              </a:rPr>
              <a:t>Children and youth who lack a fixed, regular, and adequate nighttime residence, including children and youth:</a:t>
            </a:r>
            <a:endParaRPr lang="en-US">
              <a:latin typeface="+mn-lt"/>
              <a:ea typeface="Calibri" charset="0"/>
              <a:cs typeface="Calibri" charset="0"/>
            </a:endParaRPr>
          </a:p>
          <a:p>
            <a:pPr lvl="2">
              <a:lnSpc>
                <a:spcPct val="110000"/>
              </a:lnSpc>
              <a:buClr>
                <a:schemeClr val="accent1"/>
              </a:buClr>
              <a:buSzPct val="95000"/>
              <a:buFont typeface="Arial" panose="020B0604020202020204" pitchFamily="34" charset="0"/>
              <a:buChar char="•"/>
            </a:pPr>
            <a:r>
              <a:rPr lang="en-US">
                <a:latin typeface="+mn-lt"/>
                <a:ea typeface="Calibri" charset="0"/>
                <a:cs typeface="Calibri" charset="0"/>
              </a:rPr>
              <a:t>Living in cars, parks, public spaces, abandoned buildings, substandard housing, bus or train stations, or similar settings</a:t>
            </a:r>
          </a:p>
          <a:p>
            <a:pPr lvl="2">
              <a:lnSpc>
                <a:spcPct val="110000"/>
              </a:lnSpc>
              <a:buClr>
                <a:schemeClr val="accent1"/>
              </a:buClr>
              <a:buSzPct val="95000"/>
              <a:buFont typeface="Arial" panose="020B0604020202020204" pitchFamily="34" charset="0"/>
              <a:buChar char="•"/>
            </a:pPr>
            <a:r>
              <a:rPr lang="en-US">
                <a:latin typeface="+mn-lt"/>
                <a:ea typeface="Calibri" charset="0"/>
                <a:cs typeface="Calibri" charset="0"/>
              </a:rPr>
              <a:t>Migratory children living in the above circumstances </a:t>
            </a:r>
            <a:r>
              <a:rPr lang="en-US">
                <a:latin typeface="Arial "/>
                <a:ea typeface="Calibri" charset="0"/>
                <a:cs typeface="Calibri" charset="0"/>
              </a:rPr>
              <a:t>								</a:t>
            </a:r>
            <a:endParaRPr lang="en-US">
              <a:latin typeface="+mn-lt"/>
              <a:ea typeface="Calibri" charset="0"/>
              <a:cs typeface="Calibri" charset="0"/>
            </a:endParaRPr>
          </a:p>
          <a:p>
            <a:pPr lvl="2">
              <a:lnSpc>
                <a:spcPct val="110000"/>
              </a:lnSpc>
              <a:buClr>
                <a:schemeClr val="accent1"/>
              </a:buClr>
              <a:buSzPct val="95000"/>
              <a:buFont typeface="Arial" panose="020B0604020202020204" pitchFamily="34" charset="0"/>
              <a:buChar char="•"/>
            </a:pPr>
            <a:r>
              <a:rPr lang="en-US">
                <a:latin typeface="+mn-lt"/>
                <a:ea typeface="Calibri" charset="0"/>
                <a:cs typeface="Calibri" charset="0"/>
              </a:rPr>
              <a:t>Unaccompanied youth includes a homeless child or youth not in the physical custody of a parent or guardian </a:t>
            </a:r>
          </a:p>
          <a:p>
            <a:pPr marL="914400" lvl="2" indent="0">
              <a:lnSpc>
                <a:spcPct val="110000"/>
              </a:lnSpc>
              <a:buClr>
                <a:schemeClr val="accent1"/>
              </a:buClr>
              <a:buSzPct val="95000"/>
              <a:buNone/>
            </a:pPr>
            <a:r>
              <a:rPr lang="en-US">
                <a:latin typeface="Arial "/>
                <a:ea typeface="Calibri" charset="0"/>
                <a:cs typeface="Calibri" charset="0"/>
              </a:rPr>
              <a:t>				           </a:t>
            </a:r>
            <a:r>
              <a:rPr lang="en-US">
                <a:latin typeface="+mn-lt"/>
                <a:ea typeface="Calibri" charset="0"/>
                <a:cs typeface="Calibri" charset="0"/>
              </a:rPr>
              <a:t>		</a:t>
            </a:r>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a:t>
            </a:fld>
            <a:endParaRPr lang="en-US"/>
          </a:p>
        </p:txBody>
      </p:sp>
    </p:spTree>
    <p:extLst>
      <p:ext uri="{BB962C8B-B14F-4D97-AF65-F5344CB8AC3E}">
        <p14:creationId xmlns:p14="http://schemas.microsoft.com/office/powerpoint/2010/main" val="2912526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dentification data up until 21-22.</a:t>
            </a:r>
          </a:p>
          <a:p>
            <a:r>
              <a:rPr lang="en-US"/>
              <a:t>(Review color legend)</a:t>
            </a:r>
          </a:p>
          <a:p>
            <a:r>
              <a:rPr lang="en-US"/>
              <a:t>Doubled up students are the most common situation, but also the most difficult to identify. </a:t>
            </a:r>
          </a:p>
        </p:txBody>
      </p:sp>
      <p:sp>
        <p:nvSpPr>
          <p:cNvPr id="4" name="Slide Number Placeholder 3"/>
          <p:cNvSpPr>
            <a:spLocks noGrp="1"/>
          </p:cNvSpPr>
          <p:nvPr>
            <p:ph type="sldNum" sz="quarter" idx="5"/>
          </p:nvPr>
        </p:nvSpPr>
        <p:spPr/>
        <p:txBody>
          <a:bodyPr/>
          <a:lstStyle/>
          <a:p>
            <a:fld id="{9E4D9ABE-7AB9-4D3A-BEA5-45E799BD6C0E}" type="slidenum">
              <a:rPr lang="en-US" smtClean="0"/>
              <a:t>7</a:t>
            </a:fld>
            <a:endParaRPr lang="en-US"/>
          </a:p>
        </p:txBody>
      </p:sp>
    </p:spTree>
    <p:extLst>
      <p:ext uri="{BB962C8B-B14F-4D97-AF65-F5344CB8AC3E}">
        <p14:creationId xmlns:p14="http://schemas.microsoft.com/office/powerpoint/2010/main" val="2018027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B</a:t>
            </a:r>
          </a:p>
          <a:p>
            <a:r>
              <a:rPr lang="en-US"/>
              <a:t>We discussed what qualifies a student as homeless under the McKinney-Vento Act. Let’s look at how that translates into the PEIMS status codes. </a:t>
            </a:r>
          </a:p>
          <a:p>
            <a:r>
              <a:rPr lang="en-US"/>
              <a:t>The Homeless Status code is located in code table C189. You can see there are 5 codes in total and each row has a quick description to give you a better idea of what the term means. </a:t>
            </a:r>
          </a:p>
          <a:p>
            <a:r>
              <a:rPr lang="en-US"/>
              <a:t>Note: ALL identified students must be coded in the PEIMS system. </a:t>
            </a:r>
          </a:p>
          <a:p>
            <a:r>
              <a:rPr lang="en-US"/>
              <a:t>Evaluate this every year.</a:t>
            </a:r>
          </a:p>
          <a:p>
            <a:endParaRPr lang="en-US"/>
          </a:p>
          <a:p>
            <a:r>
              <a:rPr lang="en-US"/>
              <a:t>0 – Not homeless</a:t>
            </a:r>
          </a:p>
          <a:p>
            <a:r>
              <a:rPr lang="en-US"/>
              <a:t>2 – Doubled up – the most common living situation</a:t>
            </a:r>
          </a:p>
          <a:p>
            <a:r>
              <a:rPr lang="en-US"/>
              <a:t>3 – Unsheltered</a:t>
            </a:r>
          </a:p>
          <a:p>
            <a:r>
              <a:rPr lang="en-US"/>
              <a:t>4 – Motel/hotel</a:t>
            </a:r>
          </a:p>
          <a:p>
            <a:r>
              <a:rPr lang="en-US"/>
              <a:t>5 - Shelter</a:t>
            </a:r>
          </a:p>
        </p:txBody>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a:p>
        </p:txBody>
      </p:sp>
    </p:spTree>
    <p:extLst>
      <p:ext uri="{BB962C8B-B14F-4D97-AF65-F5344CB8AC3E}">
        <p14:creationId xmlns:p14="http://schemas.microsoft.com/office/powerpoint/2010/main" val="2922268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B</a:t>
            </a:r>
          </a:p>
          <a:p>
            <a:r>
              <a:rPr lang="en-US"/>
              <a:t>Here is the code table for unaccompanied youth, C192. These codes only apply to homeless students. </a:t>
            </a:r>
          </a:p>
          <a:p>
            <a:endParaRPr lang="en-US"/>
          </a:p>
          <a:p>
            <a:r>
              <a:rPr lang="en-US"/>
              <a:t>Every homeless student must be coded as either 3 or 4. The McKinney-Vento liaison typically assess and determines which coding is appropriate during the intake process. </a:t>
            </a:r>
          </a:p>
          <a:p>
            <a:r>
              <a:rPr lang="en-US"/>
              <a:t>3 – The homeless student is in the physical custody </a:t>
            </a:r>
            <a:r>
              <a:rPr lang="en-US" b="1"/>
              <a:t>(not unaccompanied) </a:t>
            </a:r>
            <a:r>
              <a:rPr lang="en-US"/>
              <a:t>of a parent or guardian</a:t>
            </a:r>
          </a:p>
          <a:p>
            <a:r>
              <a:rPr lang="en-US"/>
              <a:t>4 – The homeless student is not in the physical custody </a:t>
            </a:r>
            <a:r>
              <a:rPr lang="en-US" b="1"/>
              <a:t>(unaccompanied) </a:t>
            </a:r>
            <a:r>
              <a:rPr lang="en-US"/>
              <a:t>of a parent or guardian</a:t>
            </a:r>
          </a:p>
          <a:p>
            <a:endParaRPr lang="en-US"/>
          </a:p>
          <a:p>
            <a:r>
              <a:rPr lang="en-US"/>
              <a:t>Historically there was an unaccompanied youth code.</a:t>
            </a:r>
          </a:p>
        </p:txBody>
      </p:sp>
      <p:sp>
        <p:nvSpPr>
          <p:cNvPr id="4" name="Slide Number Placeholder 3"/>
          <p:cNvSpPr>
            <a:spLocks noGrp="1"/>
          </p:cNvSpPr>
          <p:nvPr>
            <p:ph type="sldNum" sz="quarter" idx="5"/>
          </p:nvPr>
        </p:nvSpPr>
        <p:spPr/>
        <p:txBody>
          <a:bodyPr/>
          <a:lstStyle/>
          <a:p>
            <a:fld id="{9E4D9ABE-7AB9-4D3A-BEA5-45E799BD6C0E}" type="slidenum">
              <a:rPr lang="en-US" smtClean="0"/>
              <a:t>9</a:t>
            </a:fld>
            <a:endParaRPr lang="en-US"/>
          </a:p>
        </p:txBody>
      </p:sp>
    </p:spTree>
    <p:extLst>
      <p:ext uri="{BB962C8B-B14F-4D97-AF65-F5344CB8AC3E}">
        <p14:creationId xmlns:p14="http://schemas.microsoft.com/office/powerpoint/2010/main" val="9243199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tudent coding timeframe specifics.</a:t>
            </a:r>
          </a:p>
          <a:p>
            <a:pPr marL="171450" indent="-171450">
              <a:buFont typeface="Arial" panose="020B0604020202020204" pitchFamily="34" charset="0"/>
              <a:buChar char="•"/>
            </a:pPr>
            <a:r>
              <a:rPr lang="en-US" b="0"/>
              <a:t>Annually – means every school year. This includes students who were identified during the previous school year.</a:t>
            </a:r>
          </a:p>
          <a:p>
            <a:pPr marL="171450" indent="-171450">
              <a:buFont typeface="Arial" panose="020B0604020202020204" pitchFamily="34" charset="0"/>
              <a:buChar char="•"/>
            </a:pPr>
            <a:r>
              <a:rPr lang="en-US" b="0"/>
              <a:t>As soon as the student is identified, they need to be coded in PEIMS.</a:t>
            </a:r>
          </a:p>
          <a:p>
            <a:pPr marL="171450" indent="-171450">
              <a:buFont typeface="Arial" panose="020B0604020202020204" pitchFamily="34" charset="0"/>
              <a:buChar char="•"/>
            </a:pPr>
            <a:r>
              <a:rPr lang="en-US" b="0"/>
              <a:t>Identification and coding lasts for the school year during which the students have been identified. </a:t>
            </a:r>
          </a:p>
          <a:p>
            <a:pPr marL="171450" indent="-171450">
              <a:buFont typeface="Arial" panose="020B0604020202020204" pitchFamily="34" charset="0"/>
              <a:buChar char="•"/>
            </a:pPr>
            <a:r>
              <a:rPr lang="en-US" b="0"/>
              <a:t>Coding does not carry over, this reiterates that housing status need to be assess annually.</a:t>
            </a: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0</a:t>
            </a:fld>
            <a:endParaRPr lang="en-US"/>
          </a:p>
        </p:txBody>
      </p:sp>
    </p:spTree>
    <p:extLst>
      <p:ext uri="{BB962C8B-B14F-4D97-AF65-F5344CB8AC3E}">
        <p14:creationId xmlns:p14="http://schemas.microsoft.com/office/powerpoint/2010/main" val="1225945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26.svg"/><Relationship Id="rId4" Type="http://schemas.openxmlformats.org/officeDocument/2006/relationships/image" Target="../media/image25.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tiff"/><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tiff"/><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tiff"/><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tiff"/><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8.tiff"/><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9.tiff"/><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0.tiff"/><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1.tiff"/><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2.tiff"/><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3.tiff"/><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4.tiff"/><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5.tiff"/><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6.xml"/><Relationship Id="rId4" Type="http://schemas.openxmlformats.org/officeDocument/2006/relationships/image" Target="../media/image48.sv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49.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49.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49.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49.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png"/><Relationship Id="rId1" Type="http://schemas.openxmlformats.org/officeDocument/2006/relationships/slideMaster" Target="../slideMasters/slideMaster7.xml"/><Relationship Id="rId6" Type="http://schemas.openxmlformats.org/officeDocument/2006/relationships/image" Target="../media/image51.svg"/><Relationship Id="rId5" Type="http://schemas.openxmlformats.org/officeDocument/2006/relationships/image" Target="../media/image25.png"/><Relationship Id="rId4" Type="http://schemas.openxmlformats.org/officeDocument/2006/relationships/image" Target="../media/image50.sv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png"/><Relationship Id="rId1" Type="http://schemas.openxmlformats.org/officeDocument/2006/relationships/slideMaster" Target="../slideMasters/slideMaster7.xml"/><Relationship Id="rId6" Type="http://schemas.openxmlformats.org/officeDocument/2006/relationships/image" Target="../media/image51.svg"/><Relationship Id="rId5" Type="http://schemas.openxmlformats.org/officeDocument/2006/relationships/image" Target="../media/image25.png"/><Relationship Id="rId4" Type="http://schemas.openxmlformats.org/officeDocument/2006/relationships/image" Target="../media/image50.sv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1.png"/><Relationship Id="rId1" Type="http://schemas.openxmlformats.org/officeDocument/2006/relationships/slideMaster" Target="../slideMasters/slideMaster7.xml"/><Relationship Id="rId4" Type="http://schemas.openxmlformats.org/officeDocument/2006/relationships/image" Target="../media/image53.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png"/><Relationship Id="rId1" Type="http://schemas.openxmlformats.org/officeDocument/2006/relationships/slideMaster" Target="../slideMasters/slideMaster7.xml"/><Relationship Id="rId6" Type="http://schemas.openxmlformats.org/officeDocument/2006/relationships/image" Target="../media/image51.svg"/><Relationship Id="rId5" Type="http://schemas.openxmlformats.org/officeDocument/2006/relationships/image" Target="../media/image25.png"/><Relationship Id="rId4" Type="http://schemas.openxmlformats.org/officeDocument/2006/relationships/image" Target="../media/image50.sv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xml"/><Relationship Id="rId4" Type="http://schemas.openxmlformats.org/officeDocument/2006/relationships/image" Target="../media/image54.emf"/></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8.xml"/><Relationship Id="rId5" Type="http://schemas.openxmlformats.org/officeDocument/2006/relationships/image" Target="../media/image60.svg"/><Relationship Id="rId4" Type="http://schemas.openxmlformats.org/officeDocument/2006/relationships/image" Target="../media/image59.pn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3034454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2_Title Slide">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E0681207-8776-4FB2-8044-EC291C333EB6}"/>
              </a:ext>
            </a:extLst>
          </p:cNvPr>
          <p:cNvPicPr>
            <a:picLocks noChangeAspect="1"/>
          </p:cNvPicPr>
          <p:nvPr userDrawn="1"/>
        </p:nvPicPr>
        <p:blipFill rotWithShape="1">
          <a:blip r:embed="rId2">
            <a:alphaModFix amt="85000"/>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52916332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 name="Title 1">
            <a:extLst>
              <a:ext uri="{FF2B5EF4-FFF2-40B4-BE49-F238E27FC236}">
                <a16:creationId xmlns:a16="http://schemas.microsoft.com/office/drawing/2014/main" id="{3073628F-1E16-4EC8-9B3B-7374ACBBB539}"/>
              </a:ext>
            </a:extLst>
          </p:cNvPr>
          <p:cNvSpPr>
            <a:spLocks noGrp="1"/>
          </p:cNvSpPr>
          <p:nvPr>
            <p:ph type="title"/>
          </p:nvPr>
        </p:nvSpPr>
        <p:spPr>
          <a:xfrm>
            <a:off x="1949395" y="111861"/>
            <a:ext cx="11164188" cy="751350"/>
          </a:xfrm>
        </p:spPr>
        <p:txBody>
          <a:bodyPr/>
          <a:lstStyle/>
          <a:p>
            <a:r>
              <a:rPr lang="en-US"/>
              <a:t>Click to edit Master title style</a:t>
            </a:r>
          </a:p>
        </p:txBody>
      </p:sp>
    </p:spTree>
    <p:extLst>
      <p:ext uri="{BB962C8B-B14F-4D97-AF65-F5344CB8AC3E}">
        <p14:creationId xmlns:p14="http://schemas.microsoft.com/office/powerpoint/2010/main" val="27055743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9485757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 name="Title 1">
            <a:extLst>
              <a:ext uri="{FF2B5EF4-FFF2-40B4-BE49-F238E27FC236}">
                <a16:creationId xmlns:a16="http://schemas.microsoft.com/office/drawing/2014/main" id="{F0608C50-2D05-4A9C-9E4F-7CCD668508AF}"/>
              </a:ext>
            </a:extLst>
          </p:cNvPr>
          <p:cNvSpPr>
            <a:spLocks noGrp="1"/>
          </p:cNvSpPr>
          <p:nvPr>
            <p:ph type="title"/>
          </p:nvPr>
        </p:nvSpPr>
        <p:spPr>
          <a:xfrm>
            <a:off x="2065361" y="106018"/>
            <a:ext cx="11164188" cy="751350"/>
          </a:xfrm>
        </p:spPr>
        <p:txBody>
          <a:bodyPr/>
          <a:lstStyle/>
          <a:p>
            <a:r>
              <a:rPr lang="en-US"/>
              <a:t>Click to edit Master title style</a:t>
            </a:r>
          </a:p>
        </p:txBody>
      </p:sp>
    </p:spTree>
    <p:extLst>
      <p:ext uri="{BB962C8B-B14F-4D97-AF65-F5344CB8AC3E}">
        <p14:creationId xmlns:p14="http://schemas.microsoft.com/office/powerpoint/2010/main" val="44521390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 name="Title 1">
            <a:extLst>
              <a:ext uri="{FF2B5EF4-FFF2-40B4-BE49-F238E27FC236}">
                <a16:creationId xmlns:a16="http://schemas.microsoft.com/office/drawing/2014/main" id="{C3692B5F-F6DA-4BC9-A058-F74BBC5D020B}"/>
              </a:ext>
            </a:extLst>
          </p:cNvPr>
          <p:cNvSpPr>
            <a:spLocks noGrp="1"/>
          </p:cNvSpPr>
          <p:nvPr>
            <p:ph type="title"/>
          </p:nvPr>
        </p:nvSpPr>
        <p:spPr>
          <a:xfrm>
            <a:off x="1824251" y="61192"/>
            <a:ext cx="11164188" cy="751350"/>
          </a:xfrm>
        </p:spPr>
        <p:txBody>
          <a:bodyPr/>
          <a:lstStyle/>
          <a:p>
            <a:r>
              <a:rPr lang="en-US"/>
              <a:t>Click to edit Master title style</a:t>
            </a:r>
          </a:p>
        </p:txBody>
      </p:sp>
    </p:spTree>
    <p:extLst>
      <p:ext uri="{BB962C8B-B14F-4D97-AF65-F5344CB8AC3E}">
        <p14:creationId xmlns:p14="http://schemas.microsoft.com/office/powerpoint/2010/main" val="116163243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0890387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2854654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11" name="Picture 10">
            <a:extLst>
              <a:ext uri="{FF2B5EF4-FFF2-40B4-BE49-F238E27FC236}">
                <a16:creationId xmlns:a16="http://schemas.microsoft.com/office/drawing/2014/main" id="{0643E1E6-D75D-4FDA-86E2-BF84BCF7FC1C}"/>
              </a:ext>
              <a:ext uri="{C183D7F6-B498-43B3-948B-1728B52AA6E4}">
                <adec:decorative xmlns:adec="http://schemas.microsoft.com/office/drawing/2017/decorative" val="1"/>
              </a:ext>
            </a:extLst>
          </p:cNvPr>
          <p:cNvPicPr>
            <a:picLocks noChangeAspect="1"/>
          </p:cNvPicPr>
          <p:nvPr userDrawn="1"/>
        </p:nvPicPr>
        <p:blipFill>
          <a:blip r:embed="rId3" cstate="hq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44539" y="5026293"/>
            <a:ext cx="1390017" cy="1831705"/>
          </a:xfrm>
          <a:prstGeom prst="rect">
            <a:avLst/>
          </a:prstGeom>
        </p:spPr>
      </p:pic>
    </p:spTree>
    <p:extLst>
      <p:ext uri="{BB962C8B-B14F-4D97-AF65-F5344CB8AC3E}">
        <p14:creationId xmlns:p14="http://schemas.microsoft.com/office/powerpoint/2010/main" val="403166490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11" name="Picture 10">
            <a:extLst>
              <a:ext uri="{FF2B5EF4-FFF2-40B4-BE49-F238E27FC236}">
                <a16:creationId xmlns:a16="http://schemas.microsoft.com/office/drawing/2014/main" id="{0643E1E6-D75D-4FDA-86E2-BF84BCF7FC1C}"/>
              </a:ext>
              <a:ext uri="{C183D7F6-B498-43B3-948B-1728B52AA6E4}">
                <adec:decorative xmlns:adec="http://schemas.microsoft.com/office/drawing/2017/decorative" val="1"/>
              </a:ext>
            </a:extLst>
          </p:cNvPr>
          <p:cNvPicPr>
            <a:picLocks noChangeAspect="1"/>
          </p:cNvPicPr>
          <p:nvPr userDrawn="1"/>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44539" y="5026293"/>
            <a:ext cx="1390017" cy="1831705"/>
          </a:xfrm>
          <a:prstGeom prst="rect">
            <a:avLst/>
          </a:prstGeom>
        </p:spPr>
      </p:pic>
    </p:spTree>
    <p:extLst>
      <p:ext uri="{BB962C8B-B14F-4D97-AF65-F5344CB8AC3E}">
        <p14:creationId xmlns:p14="http://schemas.microsoft.com/office/powerpoint/2010/main" val="348383234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1004957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8885687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C4079B5-6E78-40CC-933D-7055C62C03DA}" type="datetimeFigureOut">
              <a:rPr lang="en-US" smtClean="0"/>
              <a:t>3/20/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6851013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383201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871768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3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535031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748280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EA Opener - Section title bar">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pyright ©Texas Education Agency, 2020.  All rights reserved.</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3864370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pyright ©Texas Education Agency, 2020.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19832666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8" name="Picture Placeholder 8">
            <a:extLst>
              <a:ext uri="{FF2B5EF4-FFF2-40B4-BE49-F238E27FC236}">
                <a16:creationId xmlns:a16="http://schemas.microsoft.com/office/drawing/2014/main" id="{922CFC55-EE78-4D7F-B2B8-53CFD85D0CD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rcRect t="15634" b="15634"/>
          <a:stretch>
            <a:fillRect/>
          </a:stretch>
        </p:blipFill>
        <p:spPr>
          <a:xfrm>
            <a:off x="0" y="1268412"/>
            <a:ext cx="12192000" cy="5589588"/>
          </a:xfrm>
          <a:prstGeom prst="rect">
            <a:avLst/>
          </a:prstGeom>
        </p:spPr>
      </p:pic>
      <p:pic>
        <p:nvPicPr>
          <p:cNvPr id="9" name="Picture 8">
            <a:extLst>
              <a:ext uri="{FF2B5EF4-FFF2-40B4-BE49-F238E27FC236}">
                <a16:creationId xmlns:a16="http://schemas.microsoft.com/office/drawing/2014/main" id="{AE035093-B4A4-4C2D-9D64-29D854CA5F6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21070500">
            <a:off x="-254904" y="-38474"/>
            <a:ext cx="5213341" cy="3723815"/>
          </a:xfrm>
          <a:prstGeom prst="rect">
            <a:avLst/>
          </a:prstGeom>
        </p:spPr>
      </p:pic>
      <p:sp>
        <p:nvSpPr>
          <p:cNvPr id="10" name="Text Placeholder 3">
            <a:extLst>
              <a:ext uri="{FF2B5EF4-FFF2-40B4-BE49-F238E27FC236}">
                <a16:creationId xmlns:a16="http://schemas.microsoft.com/office/drawing/2014/main" id="{EF5AF889-4713-4863-95A0-76C764066E9A}"/>
              </a:ext>
              <a:ext uri="{C183D7F6-B498-43B3-948B-1728B52AA6E4}">
                <adec:decorative xmlns:adec="http://schemas.microsoft.com/office/drawing/2017/decorative" val="1"/>
              </a:ext>
            </a:extLst>
          </p:cNvPr>
          <p:cNvSpPr txBox="1">
            <a:spLocks/>
          </p:cNvSpPr>
          <p:nvPr userDrawn="1"/>
        </p:nvSpPr>
        <p:spPr>
          <a:xfrm rot="20641813">
            <a:off x="554020" y="1092744"/>
            <a:ext cx="3752715" cy="184718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ED7D31"/>
              </a:buClr>
              <a:buSzTx/>
              <a:buFont typeface="Wingdings" panose="05000000000000000000" pitchFamily="2" charset="2"/>
              <a:buNone/>
              <a:tabLst/>
              <a:defRPr/>
            </a:pPr>
            <a:r>
              <a:rPr lang="en-US" sz="3600">
                <a:solidFill>
                  <a:prstClr val="white"/>
                </a:solidFill>
                <a:latin typeface="Calibri" panose="020F0502020204030204"/>
              </a:rPr>
              <a:t>LEA </a:t>
            </a:r>
            <a:r>
              <a:rPr kumimoji="0" lang="en-US" sz="3600" b="0" i="0" u="none" strike="noStrike" kern="1200" cap="none" spc="0" normalizeH="0" baseline="0" noProof="0">
                <a:ln>
                  <a:noFill/>
                </a:ln>
                <a:solidFill>
                  <a:prstClr val="white"/>
                </a:solidFill>
                <a:effectLst/>
                <a:uLnTx/>
                <a:uFillTx/>
                <a:latin typeface="Calibri" panose="020F0502020204030204"/>
                <a:ea typeface="+mn-ea"/>
                <a:cs typeface="+mn-cs"/>
              </a:rPr>
              <a:t>Leadership and Teacher Corner</a:t>
            </a:r>
          </a:p>
        </p:txBody>
      </p:sp>
    </p:spTree>
    <p:extLst>
      <p:ext uri="{BB962C8B-B14F-4D97-AF65-F5344CB8AC3E}">
        <p14:creationId xmlns:p14="http://schemas.microsoft.com/office/powerpoint/2010/main" val="12595827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Copyright ©Texas Education Agency, 2020.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52489714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Object - text on right">
    <p:spTree>
      <p:nvGrpSpPr>
        <p:cNvPr id="1" name=""/>
        <p:cNvGrpSpPr/>
        <p:nvPr/>
      </p:nvGrpSpPr>
      <p:grpSpPr>
        <a:xfrm>
          <a:off x="0" y="0"/>
          <a:ext cx="0" cy="0"/>
          <a:chOff x="0" y="0"/>
          <a:chExt cx="0" cy="0"/>
        </a:xfrm>
      </p:grpSpPr>
      <p:sp>
        <p:nvSpPr>
          <p:cNvPr id="2" name="Title 1"/>
          <p:cNvSpPr>
            <a:spLocks noGrp="1"/>
          </p:cNvSpPr>
          <p:nvPr>
            <p:ph type="title"/>
          </p:nvPr>
        </p:nvSpPr>
        <p:spPr>
          <a:xfrm>
            <a:off x="625921" y="276317"/>
            <a:ext cx="11164188" cy="751350"/>
          </a:xfrm>
        </p:spPr>
        <p:txBody>
          <a:bodyPr/>
          <a:lstStyle>
            <a:lvl1pPr algn="ctr">
              <a:defRPr/>
            </a:lvl1pPr>
          </a:lstStyle>
          <a:p>
            <a:r>
              <a:rPr lang="en-US"/>
              <a:t>Click to edit Master title style</a:t>
            </a:r>
          </a:p>
        </p:txBody>
      </p:sp>
      <p:sp>
        <p:nvSpPr>
          <p:cNvPr id="3" name="Date Placeholder 2"/>
          <p:cNvSpPr>
            <a:spLocks noGrp="1"/>
          </p:cNvSpPr>
          <p:nvPr>
            <p:ph type="dt" sz="half" idx="10"/>
          </p:nvPr>
        </p:nvSpPr>
        <p:spPr>
          <a:xfrm>
            <a:off x="238125" y="6444336"/>
            <a:ext cx="2743200" cy="365125"/>
          </a:xfrm>
        </p:spPr>
        <p:txBody>
          <a:bodyPr/>
          <a:lstStyle>
            <a:lvl1pPr>
              <a:defRPr/>
            </a:lvl1pPr>
          </a:lstStyle>
          <a:p>
            <a:endParaRPr lang="en-US"/>
          </a:p>
        </p:txBody>
      </p:sp>
      <p:sp>
        <p:nvSpPr>
          <p:cNvPr id="4" name="Footer Placeholder 3"/>
          <p:cNvSpPr>
            <a:spLocks noGrp="1"/>
          </p:cNvSpPr>
          <p:nvPr>
            <p:ph type="ftr" sz="quarter" idx="11"/>
          </p:nvPr>
        </p:nvSpPr>
        <p:spPr>
          <a:xfrm>
            <a:off x="4038600" y="6424294"/>
            <a:ext cx="4114800" cy="365125"/>
          </a:xfrm>
        </p:spPr>
        <p:txBody>
          <a:bodyPr/>
          <a:lstStyle/>
          <a:p>
            <a:r>
              <a:rPr lang="en-US"/>
              <a:t>Copyright ©Texas Education Agency, 2020.  All rights reserved.</a:t>
            </a:r>
          </a:p>
        </p:txBody>
      </p:sp>
      <p:sp>
        <p:nvSpPr>
          <p:cNvPr id="5" name="Slide Number Placeholder 4"/>
          <p:cNvSpPr>
            <a:spLocks noGrp="1"/>
          </p:cNvSpPr>
          <p:nvPr>
            <p:ph type="sldNum" sz="quarter" idx="12"/>
          </p:nvPr>
        </p:nvSpPr>
        <p:spPr>
          <a:xfrm>
            <a:off x="9210675" y="6468399"/>
            <a:ext cx="2743200" cy="365125"/>
          </a:xfrm>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10" name="Picture Placeholder 9">
            <a:extLst>
              <a:ext uri="{FF2B5EF4-FFF2-40B4-BE49-F238E27FC236}">
                <a16:creationId xmlns:a16="http://schemas.microsoft.com/office/drawing/2014/main" id="{283C2CDB-0368-43BB-876D-9EC392D8040C}"/>
              </a:ext>
            </a:extLst>
          </p:cNvPr>
          <p:cNvSpPr>
            <a:spLocks noGrp="1"/>
          </p:cNvSpPr>
          <p:nvPr>
            <p:ph type="pic" sz="quarter" idx="16"/>
          </p:nvPr>
        </p:nvSpPr>
        <p:spPr>
          <a:xfrm>
            <a:off x="9926054" y="4511842"/>
            <a:ext cx="2027822" cy="1912771"/>
          </a:xfrm>
          <a:prstGeom prst="rect">
            <a:avLst/>
          </a:prstGeom>
        </p:spPr>
        <p:txBody>
          <a:bodyPr/>
          <a:lstStyle/>
          <a:p>
            <a:endParaRPr lang="en-US"/>
          </a:p>
        </p:txBody>
      </p:sp>
      <p:sp>
        <p:nvSpPr>
          <p:cNvPr id="15" name="Picture Placeholder 14">
            <a:extLst>
              <a:ext uri="{FF2B5EF4-FFF2-40B4-BE49-F238E27FC236}">
                <a16:creationId xmlns:a16="http://schemas.microsoft.com/office/drawing/2014/main" id="{2DDF7542-7E9F-44D8-89F5-3F30A90F2C56}"/>
              </a:ext>
            </a:extLst>
          </p:cNvPr>
          <p:cNvSpPr>
            <a:spLocks noGrp="1"/>
          </p:cNvSpPr>
          <p:nvPr>
            <p:ph type="pic" sz="quarter" idx="17"/>
          </p:nvPr>
        </p:nvSpPr>
        <p:spPr>
          <a:xfrm>
            <a:off x="10118725" y="4595813"/>
            <a:ext cx="1671638" cy="1612900"/>
          </a:xfrm>
          <a:prstGeom prst="rect">
            <a:avLst/>
          </a:prstGeom>
        </p:spPr>
        <p:txBody>
          <a:bodyPr/>
          <a:lstStyle/>
          <a:p>
            <a:endParaRPr lang="en-US"/>
          </a:p>
        </p:txBody>
      </p:sp>
    </p:spTree>
    <p:extLst>
      <p:ext uri="{BB962C8B-B14F-4D97-AF65-F5344CB8AC3E}">
        <p14:creationId xmlns:p14="http://schemas.microsoft.com/office/powerpoint/2010/main" val="27037616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EA Opener Blank - Mai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a:t>Edit Master Tit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Copyright ©Texas Education Agency, 2020.  All rights reserved.</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659927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C4079B5-6E78-40CC-933D-7055C62C03DA}" type="datetimeFigureOut">
              <a:rPr lang="en-US" smtClean="0"/>
              <a:t>3/20/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167286763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EA Opener - Section Orange/Blue bar">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pyright ©Texas Education Agency, 2020.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37756688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a:xfrm>
            <a:off x="1609725" y="311117"/>
            <a:ext cx="10181222" cy="751350"/>
          </a:xfrm>
        </p:spPr>
        <p:txBody>
          <a:bodyPr/>
          <a:lstStyle/>
          <a:p>
            <a:r>
              <a:rPr lang="en-US"/>
              <a:t>Click to edit Master title style</a:t>
            </a:r>
          </a:p>
        </p:txBody>
      </p:sp>
      <p:sp>
        <p:nvSpPr>
          <p:cNvPr id="3" name="Date Placeholder 2"/>
          <p:cNvSpPr>
            <a:spLocks noGrp="1"/>
          </p:cNvSpPr>
          <p:nvPr>
            <p:ph type="dt" sz="half" idx="10"/>
          </p:nvPr>
        </p:nvSpPr>
        <p:spPr>
          <a:xfrm>
            <a:off x="238125" y="6420794"/>
            <a:ext cx="2743200" cy="365125"/>
          </a:xfrm>
        </p:spPr>
        <p:txBody>
          <a:bodyPr/>
          <a:lstStyle/>
          <a:p>
            <a:endParaRPr lang="en-US"/>
          </a:p>
        </p:txBody>
      </p:sp>
      <p:sp>
        <p:nvSpPr>
          <p:cNvPr id="4" name="Footer Placeholder 3"/>
          <p:cNvSpPr>
            <a:spLocks noGrp="1"/>
          </p:cNvSpPr>
          <p:nvPr>
            <p:ph type="ftr" sz="quarter" idx="11"/>
          </p:nvPr>
        </p:nvSpPr>
        <p:spPr>
          <a:xfrm>
            <a:off x="4038600" y="6402346"/>
            <a:ext cx="4114800" cy="365125"/>
          </a:xfrm>
        </p:spPr>
        <p:txBody>
          <a:bodyPr/>
          <a:lstStyle/>
          <a:p>
            <a:r>
              <a:rPr lang="en-US"/>
              <a:t>Copyright ©Texas Education Agency, 2020.  All rights reserved.</a:t>
            </a:r>
          </a:p>
        </p:txBody>
      </p:sp>
      <p:sp>
        <p:nvSpPr>
          <p:cNvPr id="5" name="Slide Number Placeholder 4"/>
          <p:cNvSpPr>
            <a:spLocks noGrp="1"/>
          </p:cNvSpPr>
          <p:nvPr>
            <p:ph type="sldNum" sz="quarter" idx="12"/>
          </p:nvPr>
        </p:nvSpPr>
        <p:spPr>
          <a:xfrm>
            <a:off x="9210675" y="6458696"/>
            <a:ext cx="2743200" cy="365125"/>
          </a:xfrm>
        </p:spPr>
        <p:txBody>
          <a:bodyPr/>
          <a:lstStyle/>
          <a:p>
            <a:fld id="{0088AB57-2DBE-44A3-AE96-942C49E954BF}" type="slidenum">
              <a:rPr lang="en-US" smtClean="0"/>
              <a:t>‹#›</a:t>
            </a:fld>
            <a:endParaRPr lang="en-US"/>
          </a:p>
        </p:txBody>
      </p:sp>
      <p:sp>
        <p:nvSpPr>
          <p:cNvPr id="11" name="Text Placeholder 10"/>
          <p:cNvSpPr>
            <a:spLocks noGrp="1"/>
          </p:cNvSpPr>
          <p:nvPr>
            <p:ph type="body" sz="quarter" idx="14"/>
          </p:nvPr>
        </p:nvSpPr>
        <p:spPr>
          <a:xfrm>
            <a:off x="2153653" y="1620838"/>
            <a:ext cx="9276346"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grpSp>
        <p:nvGrpSpPr>
          <p:cNvPr id="7" name="Group 6">
            <a:extLst>
              <a:ext uri="{FF2B5EF4-FFF2-40B4-BE49-F238E27FC236}">
                <a16:creationId xmlns:a16="http://schemas.microsoft.com/office/drawing/2014/main" id="{F1928168-49CC-4520-8C4B-5A4B53070834}"/>
              </a:ext>
            </a:extLst>
          </p:cNvPr>
          <p:cNvGrpSpPr/>
          <p:nvPr userDrawn="1"/>
        </p:nvGrpSpPr>
        <p:grpSpPr>
          <a:xfrm>
            <a:off x="10488859" y="838172"/>
            <a:ext cx="1531420" cy="1434182"/>
            <a:chOff x="10212087" y="1105219"/>
            <a:chExt cx="1531420" cy="1434182"/>
          </a:xfrm>
        </p:grpSpPr>
        <p:pic>
          <p:nvPicPr>
            <p:cNvPr id="8" name="Graphic 7" descr="Label">
              <a:extLst>
                <a:ext uri="{FF2B5EF4-FFF2-40B4-BE49-F238E27FC236}">
                  <a16:creationId xmlns:a16="http://schemas.microsoft.com/office/drawing/2014/main" id="{FB76A176-167D-4584-8819-66E30CF983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09325" y="1105219"/>
              <a:ext cx="1434182" cy="1434182"/>
            </a:xfrm>
            <a:prstGeom prst="rect">
              <a:avLst/>
            </a:prstGeom>
          </p:spPr>
        </p:pic>
        <p:sp>
          <p:nvSpPr>
            <p:cNvPr id="9" name="Hexagon 8">
              <a:extLst>
                <a:ext uri="{FF2B5EF4-FFF2-40B4-BE49-F238E27FC236}">
                  <a16:creationId xmlns:a16="http://schemas.microsoft.com/office/drawing/2014/main" id="{8D6CEBB3-7926-46F6-9038-73F64F9E73EB}"/>
                </a:ext>
              </a:extLst>
            </p:cNvPr>
            <p:cNvSpPr/>
            <p:nvPr/>
          </p:nvSpPr>
          <p:spPr>
            <a:xfrm>
              <a:off x="10212087" y="110899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DFDFD05C-B45B-4187-9427-022D95880AFF}"/>
              </a:ext>
            </a:extLst>
          </p:cNvPr>
          <p:cNvGrpSpPr/>
          <p:nvPr userDrawn="1"/>
        </p:nvGrpSpPr>
        <p:grpSpPr>
          <a:xfrm>
            <a:off x="9210675" y="88334"/>
            <a:ext cx="1505718" cy="1380122"/>
            <a:chOff x="8710729" y="364553"/>
            <a:chExt cx="1505718" cy="1380122"/>
          </a:xfrm>
        </p:grpSpPr>
        <p:pic>
          <p:nvPicPr>
            <p:cNvPr id="12" name="Graphic 11" descr="Sign">
              <a:extLst>
                <a:ext uri="{FF2B5EF4-FFF2-40B4-BE49-F238E27FC236}">
                  <a16:creationId xmlns:a16="http://schemas.microsoft.com/office/drawing/2014/main" id="{9E7C7379-4077-45F4-B0EB-05CA35B7E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96971" y="489327"/>
              <a:ext cx="1110491" cy="1110491"/>
            </a:xfrm>
            <a:prstGeom prst="rect">
              <a:avLst/>
            </a:prstGeom>
          </p:spPr>
        </p:pic>
        <p:sp>
          <p:nvSpPr>
            <p:cNvPr id="13" name="Hexagon 12">
              <a:extLst>
                <a:ext uri="{FF2B5EF4-FFF2-40B4-BE49-F238E27FC236}">
                  <a16:creationId xmlns:a16="http://schemas.microsoft.com/office/drawing/2014/main" id="{F2E029D7-5C3B-4061-9EA2-69205E494BBC}"/>
                </a:ext>
              </a:extLst>
            </p:cNvPr>
            <p:cNvSpPr/>
            <p:nvPr/>
          </p:nvSpPr>
          <p:spPr>
            <a:xfrm>
              <a:off x="8710729" y="36455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0172606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Object - text on left">
    <p:spTree>
      <p:nvGrpSpPr>
        <p:cNvPr id="1" name=""/>
        <p:cNvGrpSpPr/>
        <p:nvPr/>
      </p:nvGrpSpPr>
      <p:grpSpPr>
        <a:xfrm>
          <a:off x="0" y="0"/>
          <a:ext cx="0" cy="0"/>
          <a:chOff x="0" y="0"/>
          <a:chExt cx="0" cy="0"/>
        </a:xfrm>
      </p:grpSpPr>
      <p:sp>
        <p:nvSpPr>
          <p:cNvPr id="2" name="Title 1"/>
          <p:cNvSpPr>
            <a:spLocks noGrp="1"/>
          </p:cNvSpPr>
          <p:nvPr>
            <p:ph type="title"/>
          </p:nvPr>
        </p:nvSpPr>
        <p:spPr>
          <a:xfrm>
            <a:off x="1005389" y="295214"/>
            <a:ext cx="10181222" cy="751350"/>
          </a:xfrm>
        </p:spPr>
        <p:txBody>
          <a:bodyPr/>
          <a:lstStyle>
            <a:lvl1pPr algn="ctr">
              <a:defRPr/>
            </a:lvl1pPr>
          </a:lstStyle>
          <a:p>
            <a:r>
              <a:rPr lang="en-US"/>
              <a:t>Click to edit Master title style</a:t>
            </a:r>
          </a:p>
        </p:txBody>
      </p:sp>
      <p:sp>
        <p:nvSpPr>
          <p:cNvPr id="3" name="Date Placeholder 2"/>
          <p:cNvSpPr>
            <a:spLocks noGrp="1"/>
          </p:cNvSpPr>
          <p:nvPr>
            <p:ph type="dt" sz="half" idx="10"/>
          </p:nvPr>
        </p:nvSpPr>
        <p:spPr>
          <a:xfrm>
            <a:off x="238125" y="6420794"/>
            <a:ext cx="2743200" cy="365125"/>
          </a:xfrm>
        </p:spPr>
        <p:txBody>
          <a:bodyPr/>
          <a:lstStyle/>
          <a:p>
            <a:endParaRPr lang="en-US"/>
          </a:p>
        </p:txBody>
      </p:sp>
      <p:sp>
        <p:nvSpPr>
          <p:cNvPr id="4" name="Footer Placeholder 3"/>
          <p:cNvSpPr>
            <a:spLocks noGrp="1"/>
          </p:cNvSpPr>
          <p:nvPr>
            <p:ph type="ftr" sz="quarter" idx="11"/>
          </p:nvPr>
        </p:nvSpPr>
        <p:spPr>
          <a:xfrm>
            <a:off x="4038600" y="6402346"/>
            <a:ext cx="4114800" cy="365125"/>
          </a:xfrm>
        </p:spPr>
        <p:txBody>
          <a:bodyPr/>
          <a:lstStyle/>
          <a:p>
            <a:r>
              <a:rPr lang="en-US"/>
              <a:t>Copyright ©Texas Education Agency, 2020.  All rights reserved.</a:t>
            </a:r>
          </a:p>
        </p:txBody>
      </p:sp>
      <p:sp>
        <p:nvSpPr>
          <p:cNvPr id="5" name="Slide Number Placeholder 4"/>
          <p:cNvSpPr>
            <a:spLocks noGrp="1"/>
          </p:cNvSpPr>
          <p:nvPr>
            <p:ph type="sldNum" sz="quarter" idx="12"/>
          </p:nvPr>
        </p:nvSpPr>
        <p:spPr>
          <a:xfrm>
            <a:off x="9210675" y="6458696"/>
            <a:ext cx="2743200" cy="365125"/>
          </a:xfrm>
        </p:spPr>
        <p:txBody>
          <a:bodyPr/>
          <a:lstStyle/>
          <a:p>
            <a:fld id="{0088AB57-2DBE-44A3-AE96-942C49E954BF}" type="slidenum">
              <a:rPr lang="en-US" smtClean="0"/>
              <a:t>‹#›</a:t>
            </a:fld>
            <a:endParaRPr lang="en-US"/>
          </a:p>
        </p:txBody>
      </p:sp>
      <p:sp>
        <p:nvSpPr>
          <p:cNvPr id="11" name="Text Placeholder 10"/>
          <p:cNvSpPr>
            <a:spLocks noGrp="1"/>
          </p:cNvSpPr>
          <p:nvPr>
            <p:ph type="body" sz="quarter" idx="14"/>
          </p:nvPr>
        </p:nvSpPr>
        <p:spPr>
          <a:xfrm>
            <a:off x="1457827" y="1644692"/>
            <a:ext cx="9276346" cy="4603750"/>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9814350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032792-A36D-4354-A8ED-88A3AA4EF42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C023F20-ADD6-4D5A-9D36-A1DC143D3E0E}"/>
              </a:ext>
            </a:extLst>
          </p:cNvPr>
          <p:cNvSpPr>
            <a:spLocks noGrp="1"/>
          </p:cNvSpPr>
          <p:nvPr>
            <p:ph type="ftr" sz="quarter" idx="11"/>
          </p:nvPr>
        </p:nvSpPr>
        <p:spPr/>
        <p:txBody>
          <a:bodyPr/>
          <a:lstStyle/>
          <a:p>
            <a:r>
              <a:rPr lang="en-US"/>
              <a:t>Copyright ©Texas Education Agency, 2020.  All rights reserved.</a:t>
            </a:r>
          </a:p>
        </p:txBody>
      </p:sp>
      <p:sp>
        <p:nvSpPr>
          <p:cNvPr id="4" name="Slide Number Placeholder 3">
            <a:extLst>
              <a:ext uri="{FF2B5EF4-FFF2-40B4-BE49-F238E27FC236}">
                <a16:creationId xmlns:a16="http://schemas.microsoft.com/office/drawing/2014/main" id="{CD55EB77-DECA-4FDB-A420-2A45DFBF030F}"/>
              </a:ext>
            </a:extLst>
          </p:cNvPr>
          <p:cNvSpPr>
            <a:spLocks noGrp="1"/>
          </p:cNvSpPr>
          <p:nvPr>
            <p:ph type="sldNum" sz="quarter" idx="12"/>
          </p:nvPr>
        </p:nvSpPr>
        <p:spPr/>
        <p:txBody>
          <a:bodyPr/>
          <a:lstStyle/>
          <a:p>
            <a:fld id="{69C126A4-BD19-47E2-8A0E-0DE1B9D8C925}" type="slidenum">
              <a:rPr lang="en-US" smtClean="0"/>
              <a:t>‹#›</a:t>
            </a:fld>
            <a:endParaRPr lang="en-US"/>
          </a:p>
        </p:txBody>
      </p:sp>
      <p:sp>
        <p:nvSpPr>
          <p:cNvPr id="11" name="Rectangle 10">
            <a:extLst>
              <a:ext uri="{FF2B5EF4-FFF2-40B4-BE49-F238E27FC236}">
                <a16:creationId xmlns:a16="http://schemas.microsoft.com/office/drawing/2014/main" id="{8D1C16D0-0DB0-45CA-98E2-0270421EBB46}"/>
              </a:ext>
            </a:extLst>
          </p:cNvPr>
          <p:cNvSpPr/>
          <p:nvPr/>
        </p:nvSpPr>
        <p:spPr>
          <a:xfrm>
            <a:off x="1670858" y="1085850"/>
            <a:ext cx="10283018" cy="486838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6BC50C61-80C5-4084-ACAF-860886326751}"/>
              </a:ext>
            </a:extLst>
          </p:cNvPr>
          <p:cNvSpPr>
            <a:spLocks noGrp="1"/>
          </p:cNvSpPr>
          <p:nvPr>
            <p:ph type="body" sz="quarter" idx="14"/>
          </p:nvPr>
        </p:nvSpPr>
        <p:spPr>
          <a:xfrm>
            <a:off x="1936866" y="1189038"/>
            <a:ext cx="9909060" cy="4654550"/>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20">
            <a:extLst>
              <a:ext uri="{FF2B5EF4-FFF2-40B4-BE49-F238E27FC236}">
                <a16:creationId xmlns:a16="http://schemas.microsoft.com/office/drawing/2014/main" id="{AA122EF4-4AA4-4FEC-8969-E8431FCEA614}"/>
              </a:ext>
            </a:extLst>
          </p:cNvPr>
          <p:cNvSpPr>
            <a:spLocks noGrp="1"/>
          </p:cNvSpPr>
          <p:nvPr>
            <p:ph type="title"/>
          </p:nvPr>
        </p:nvSpPr>
        <p:spPr>
          <a:xfrm>
            <a:off x="371946" y="135282"/>
            <a:ext cx="11164188" cy="75135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481591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8A0D0FAC-B2A3-4F72-B914-AF5D571949F7}" type="datetime1">
              <a:rPr lang="en-US" smtClean="0"/>
              <a:t>3/20/2023</a:t>
            </a:fld>
            <a:endParaRPr lang="en-US"/>
          </a:p>
        </p:txBody>
      </p:sp>
      <p:sp>
        <p:nvSpPr>
          <p:cNvPr id="8" name="Footer Placeholder 7"/>
          <p:cNvSpPr>
            <a:spLocks noGrp="1"/>
          </p:cNvSpPr>
          <p:nvPr>
            <p:ph type="ftr" sz="quarter" idx="11"/>
          </p:nvPr>
        </p:nvSpPr>
        <p:spPr/>
        <p:txBody>
          <a:bodyPr/>
          <a:lstStyle/>
          <a:p>
            <a:r>
              <a:rPr lang="en-US"/>
              <a:t>Copyright ©Texas Education Agency, 2019.  All rights reserved.</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83734801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3856623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7139453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45543393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4969095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3683586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C4079B5-6E78-40CC-933D-7055C62C03DA}" type="datetimeFigureOut">
              <a:rPr lang="en-US" smtClean="0"/>
              <a:t>3/20/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196511116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38851718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9791115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8284591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BEDEA05-05F9-48DB-869A-21817502D5CE}" type="datetimeFigureOut">
              <a:rPr lang="en-US" smtClean="0"/>
              <a:t>3/20/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19649613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BEDEA05-05F9-48DB-869A-21817502D5CE}" type="datetimeFigureOut">
              <a:rPr lang="en-US" smtClean="0"/>
              <a:t>3/20/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197837046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BEDEA05-05F9-48DB-869A-21817502D5CE}" type="datetimeFigureOut">
              <a:rPr lang="en-US" smtClean="0"/>
              <a:t>3/20/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269354409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BEDEA05-05F9-48DB-869A-21817502D5CE}" type="datetimeFigureOut">
              <a:rPr lang="en-US" smtClean="0"/>
              <a:t>3/20/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66748781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BEDEA05-05F9-48DB-869A-21817502D5CE}" type="datetimeFigureOut">
              <a:rPr lang="en-US" smtClean="0"/>
              <a:t>3/20/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173222451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BEDEA05-05F9-48DB-869A-21817502D5CE}" type="datetimeFigureOut">
              <a:rPr lang="en-US" smtClean="0"/>
              <a:t>3/20/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41127685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BEDEA05-05F9-48DB-869A-21817502D5CE}" type="datetimeFigureOut">
              <a:rPr lang="en-US" smtClean="0"/>
              <a:t>3/20/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2386130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C4079B5-6E78-40CC-933D-7055C62C03DA}" type="datetimeFigureOut">
              <a:rPr lang="en-US" smtClean="0"/>
              <a:t>3/20/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702235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BEDEA05-05F9-48DB-869A-21817502D5CE}" type="datetimeFigureOut">
              <a:rPr lang="en-US" smtClean="0"/>
              <a:t>3/20/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348732290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86908398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07266591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09548307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9693003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22349300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39245172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5BEDEA05-05F9-48DB-869A-21817502D5CE}"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Tree>
    <p:extLst>
      <p:ext uri="{BB962C8B-B14F-4D97-AF65-F5344CB8AC3E}">
        <p14:creationId xmlns:p14="http://schemas.microsoft.com/office/powerpoint/2010/main" val="80842350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01461037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5BEDEA05-05F9-48DB-869A-21817502D5CE}" type="datetimeFigureOut">
              <a:rPr lang="en-US" smtClean="0"/>
              <a:t>3/20/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1199673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C4079B5-6E78-40CC-933D-7055C62C03DA}" type="datetimeFigureOut">
              <a:rPr lang="en-US" smtClean="0"/>
              <a:t>3/20/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217226491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58174690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32155973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69610648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5B913-E5B5-4459-92BF-04842A6C83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766F5D0-210F-464C-B455-3A4831FC83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8D9B5D-2965-4838-A16E-3C19CC4EE9C8}"/>
              </a:ext>
            </a:extLst>
          </p:cNvPr>
          <p:cNvSpPr>
            <a:spLocks noGrp="1"/>
          </p:cNvSpPr>
          <p:nvPr>
            <p:ph type="dt" sz="half" idx="10"/>
          </p:nvPr>
        </p:nvSpPr>
        <p:spPr/>
        <p:txBody>
          <a:bodyPr/>
          <a:lstStyle/>
          <a:p>
            <a:fld id="{5BEDEA05-05F9-48DB-869A-21817502D5CE}" type="datetimeFigureOut">
              <a:rPr lang="en-US" smtClean="0"/>
              <a:t>3/20/2023</a:t>
            </a:fld>
            <a:endParaRPr lang="en-US"/>
          </a:p>
        </p:txBody>
      </p:sp>
      <p:sp>
        <p:nvSpPr>
          <p:cNvPr id="5" name="Footer Placeholder 4">
            <a:extLst>
              <a:ext uri="{FF2B5EF4-FFF2-40B4-BE49-F238E27FC236}">
                <a16:creationId xmlns:a16="http://schemas.microsoft.com/office/drawing/2014/main" id="{83DD4678-D784-4830-B585-ED5B687EE6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26D2EE-6953-4936-A8DC-3F0DBFEFB0DB}"/>
              </a:ext>
            </a:extLst>
          </p:cNvPr>
          <p:cNvSpPr>
            <a:spLocks noGrp="1"/>
          </p:cNvSpPr>
          <p:nvPr>
            <p:ph type="sldNum" sz="quarter" idx="12"/>
          </p:nvPr>
        </p:nvSpPr>
        <p:spPr/>
        <p:txBody>
          <a:bodyPr/>
          <a:lstStyle/>
          <a:p>
            <a:fld id="{B609CC69-4FBF-4249-8482-418E0C403FE2}" type="slidenum">
              <a:rPr lang="en-US" smtClean="0"/>
              <a:t>‹#›</a:t>
            </a:fld>
            <a:endParaRPr lang="en-US"/>
          </a:p>
        </p:txBody>
      </p:sp>
    </p:spTree>
    <p:extLst>
      <p:ext uri="{BB962C8B-B14F-4D97-AF65-F5344CB8AC3E}">
        <p14:creationId xmlns:p14="http://schemas.microsoft.com/office/powerpoint/2010/main" val="326995253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B609CC69-4FBF-4249-8482-418E0C403FE2}" type="slidenum">
              <a:rPr lang="en-US" smtClean="0"/>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5BEDEA05-05F9-48DB-869A-21817502D5CE}" type="datetimeFigureOut">
              <a:rPr lang="en-US" smtClean="0"/>
              <a:t>3/20/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5090219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FEAA0A66-06B7-42CD-8D15-C524C38511DE}" type="datetime1">
              <a:rPr lang="en-US" smtClean="0"/>
              <a:t>3/20/2023</a:t>
            </a:fld>
            <a:endParaRPr lang="en-US"/>
          </a:p>
        </p:txBody>
      </p:sp>
      <p:sp>
        <p:nvSpPr>
          <p:cNvPr id="6" name="Footer Placeholder 5"/>
          <p:cNvSpPr>
            <a:spLocks noGrp="1"/>
          </p:cNvSpPr>
          <p:nvPr>
            <p:ph type="ftr" sz="quarter" idx="11"/>
          </p:nvPr>
        </p:nvSpPr>
        <p:spPr/>
        <p:txBody>
          <a:bodyPr/>
          <a:lstStyle/>
          <a:p>
            <a:r>
              <a:rPr lang="en-US"/>
              <a:t>Copyright ©Texas Education Agency, 2020.  All rights reserved.</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95429819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5389" y="295214"/>
            <a:ext cx="10181222" cy="751350"/>
          </a:xfrm>
        </p:spPr>
        <p:txBody>
          <a:bodyPr/>
          <a:lstStyle>
            <a:lvl1pPr algn="ctr">
              <a:defRPr/>
            </a:lvl1pPr>
          </a:lstStyle>
          <a:p>
            <a:r>
              <a:rPr lang="en-US"/>
              <a:t>Click to edit Master title style</a:t>
            </a:r>
          </a:p>
        </p:txBody>
      </p:sp>
      <p:sp>
        <p:nvSpPr>
          <p:cNvPr id="3" name="Date Placeholder 2"/>
          <p:cNvSpPr>
            <a:spLocks noGrp="1"/>
          </p:cNvSpPr>
          <p:nvPr>
            <p:ph type="dt" sz="half" idx="10"/>
          </p:nvPr>
        </p:nvSpPr>
        <p:spPr>
          <a:xfrm>
            <a:off x="238125" y="6420794"/>
            <a:ext cx="2743200" cy="365125"/>
          </a:xfrm>
        </p:spPr>
        <p:txBody>
          <a:bodyPr/>
          <a:lstStyle/>
          <a:p>
            <a:fld id="{2467F399-A317-43A8-96AE-17337FDF7B61}" type="datetime1">
              <a:rPr lang="en-US" smtClean="0"/>
              <a:t>3/20/2023</a:t>
            </a:fld>
            <a:endParaRPr lang="en-US"/>
          </a:p>
        </p:txBody>
      </p:sp>
      <p:sp>
        <p:nvSpPr>
          <p:cNvPr id="4" name="Footer Placeholder 3"/>
          <p:cNvSpPr>
            <a:spLocks noGrp="1"/>
          </p:cNvSpPr>
          <p:nvPr>
            <p:ph type="ftr" sz="quarter" idx="11"/>
          </p:nvPr>
        </p:nvSpPr>
        <p:spPr>
          <a:xfrm>
            <a:off x="4038600" y="6402346"/>
            <a:ext cx="4114800" cy="365125"/>
          </a:xfrm>
        </p:spPr>
        <p:txBody>
          <a:bodyPr/>
          <a:lstStyle/>
          <a:p>
            <a:r>
              <a:rPr lang="en-US"/>
              <a:t>Copyright ©Texas Education Agency, 2020.  All rights reserved.</a:t>
            </a:r>
          </a:p>
        </p:txBody>
      </p:sp>
      <p:sp>
        <p:nvSpPr>
          <p:cNvPr id="5" name="Slide Number Placeholder 4"/>
          <p:cNvSpPr>
            <a:spLocks noGrp="1"/>
          </p:cNvSpPr>
          <p:nvPr>
            <p:ph type="sldNum" sz="quarter" idx="12"/>
          </p:nvPr>
        </p:nvSpPr>
        <p:spPr>
          <a:xfrm>
            <a:off x="9210675" y="6458696"/>
            <a:ext cx="2743200" cy="365125"/>
          </a:xfrm>
        </p:spPr>
        <p:txBody>
          <a:bodyPr/>
          <a:lstStyle/>
          <a:p>
            <a:fld id="{0088AB57-2DBE-44A3-AE96-942C49E954BF}" type="slidenum">
              <a:rPr lang="en-US" smtClean="0"/>
              <a:t>‹#›</a:t>
            </a:fld>
            <a:endParaRPr lang="en-US"/>
          </a:p>
        </p:txBody>
      </p:sp>
      <p:sp>
        <p:nvSpPr>
          <p:cNvPr id="11" name="Text Placeholder 10"/>
          <p:cNvSpPr>
            <a:spLocks noGrp="1"/>
          </p:cNvSpPr>
          <p:nvPr>
            <p:ph type="body" sz="quarter" idx="14"/>
          </p:nvPr>
        </p:nvSpPr>
        <p:spPr>
          <a:xfrm>
            <a:off x="1457827" y="1644692"/>
            <a:ext cx="9276346" cy="4603750"/>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5404418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7EC28D46-687E-47DE-BF1D-3D32C28407C9}"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20.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65933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TEA Opener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7434"/>
            <a:ext cx="9144000" cy="1455651"/>
          </a:xfrm>
          <a:prstGeom prst="rect">
            <a:avLst/>
          </a:prstGeom>
          <a:solidFill>
            <a:schemeClr val="bg1">
              <a:lumMod val="95000"/>
            </a:schemeClr>
          </a:solidFill>
        </p:spPr>
        <p:txBody>
          <a:bodyPr anchor="ctr">
            <a:normAutofit/>
          </a:bodyPr>
          <a:lstStyle>
            <a:lvl1pPr algn="ctr">
              <a:lnSpc>
                <a:spcPct val="90000"/>
              </a:lnSpc>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a:xfrm>
            <a:off x="838200" y="6562725"/>
            <a:ext cx="2743200" cy="158750"/>
          </a:xfrm>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69008C2-0538-4CA8-B2D7-23EA9134373E}" type="datetime1">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0/2023</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a:xfrm>
            <a:off x="4038600" y="6562725"/>
            <a:ext cx="4114800" cy="158750"/>
          </a:xfrm>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opyright ©Texas Education Agency, 2020.  All rights reserved.</a:t>
            </a:r>
          </a:p>
        </p:txBody>
      </p:sp>
      <p:sp>
        <p:nvSpPr>
          <p:cNvPr id="6" name="Slide Number Placeholder 5"/>
          <p:cNvSpPr>
            <a:spLocks noGrp="1"/>
          </p:cNvSpPr>
          <p:nvPr>
            <p:ph type="sldNum" sz="quarter" idx="12"/>
          </p:nvPr>
        </p:nvSpPr>
        <p:spPr>
          <a:xfrm>
            <a:off x="8610600" y="6562725"/>
            <a:ext cx="2743200" cy="158750"/>
          </a:xfrm>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Picture Placeholder 9"/>
          <p:cNvSpPr>
            <a:spLocks noGrp="1"/>
          </p:cNvSpPr>
          <p:nvPr>
            <p:ph type="pic" sz="quarter" idx="13"/>
          </p:nvPr>
        </p:nvSpPr>
        <p:spPr>
          <a:xfrm>
            <a:off x="0" y="1261872"/>
            <a:ext cx="12192000" cy="5596128"/>
          </a:xfrm>
          <a:prstGeom prst="rect">
            <a:avLst/>
          </a:prstGeom>
        </p:spPr>
        <p:txBody>
          <a:bodyPr/>
          <a:lstStyle/>
          <a:p>
            <a:r>
              <a:rPr lang="en-US"/>
              <a:t>Click icon to add picture</a:t>
            </a:r>
          </a:p>
        </p:txBody>
      </p:sp>
    </p:spTree>
    <p:extLst>
      <p:ext uri="{BB962C8B-B14F-4D97-AF65-F5344CB8AC3E}">
        <p14:creationId xmlns:p14="http://schemas.microsoft.com/office/powerpoint/2010/main" val="227853942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63673B97-C494-4E5C-88EB-948AA5C24D92}"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19.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2806195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C4079B5-6E78-40CC-933D-7055C62C03DA}" type="datetimeFigureOut">
              <a:rPr lang="en-US" smtClean="0"/>
              <a:t>3/20/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96854041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0D850C-B748-4F74-8169-D0FA3CF1AFBC}" type="datetime1">
              <a:rPr lang="en-US" smtClean="0"/>
              <a:t>3/20/2023</a:t>
            </a:fld>
            <a:endParaRPr lang="en-US"/>
          </a:p>
        </p:txBody>
      </p:sp>
      <p:sp>
        <p:nvSpPr>
          <p:cNvPr id="4" name="Footer Placeholder 3"/>
          <p:cNvSpPr>
            <a:spLocks noGrp="1"/>
          </p:cNvSpPr>
          <p:nvPr>
            <p:ph type="ftr" sz="quarter" idx="11"/>
          </p:nvPr>
        </p:nvSpPr>
        <p:spPr/>
        <p:txBody>
          <a:bodyPr/>
          <a:lstStyle/>
          <a:p>
            <a:r>
              <a:rPr lang="en-US"/>
              <a:t>Copyright ©Texas Education Agency, 2020.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95602745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58117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5930419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70546725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21595111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0459463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0289105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36759943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82385138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1EE938-827D-4597-9138-BE8CA1109EB7}" type="datetimeFigureOut">
              <a:rPr lang="en-US" smtClean="0"/>
              <a:t>3/20/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1642826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C4079B5-6E78-40CC-933D-7055C62C03DA}" type="datetimeFigureOut">
              <a:rPr lang="en-US" smtClean="0"/>
              <a:t>3/20/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135421319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1EE938-827D-4597-9138-BE8CA1109EB7}" type="datetimeFigureOut">
              <a:rPr lang="en-US" smtClean="0"/>
              <a:t>3/20/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331356307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1EE938-827D-4597-9138-BE8CA1109EB7}" type="datetimeFigureOut">
              <a:rPr lang="en-US" smtClean="0"/>
              <a:t>3/20/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295976940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1EE938-827D-4597-9138-BE8CA1109EB7}" type="datetimeFigureOut">
              <a:rPr lang="en-US" smtClean="0"/>
              <a:t>3/20/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63878531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1EE938-827D-4597-9138-BE8CA1109EB7}" type="datetimeFigureOut">
              <a:rPr lang="en-US" smtClean="0"/>
              <a:t>3/20/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94667815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1EE938-827D-4597-9138-BE8CA1109EB7}" type="datetimeFigureOut">
              <a:rPr lang="en-US" smtClean="0"/>
              <a:t>3/20/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130931004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1EE938-827D-4597-9138-BE8CA1109EB7}" type="datetimeFigureOut">
              <a:rPr lang="en-US" smtClean="0"/>
              <a:t>3/20/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42960659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E1EE938-827D-4597-9138-BE8CA1109EB7}" type="datetimeFigureOut">
              <a:rPr lang="en-US" smtClean="0"/>
              <a:t>3/20/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350532305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42423021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7692638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107295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C4079B5-6E78-40CC-933D-7055C62C03DA}" type="datetimeFigureOut">
              <a:rPr lang="en-US" smtClean="0"/>
              <a:t>3/20/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23980380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99152349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77883211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80607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4E1EE938-827D-4597-9138-BE8CA1109EB7}"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Tree>
    <p:extLst>
      <p:ext uri="{BB962C8B-B14F-4D97-AF65-F5344CB8AC3E}">
        <p14:creationId xmlns:p14="http://schemas.microsoft.com/office/powerpoint/2010/main" val="221881799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70393099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4E1EE938-827D-4597-9138-BE8CA1109EB7}" type="datetimeFigureOut">
              <a:rPr lang="en-US" smtClean="0"/>
              <a:t>3/20/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87778347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73825099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0408623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96282345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4BF97041-D008-4D64-BFE7-0DB382371CB6}" type="slidenum">
              <a:rPr lang="en-US" smtClean="0"/>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4E1EE938-827D-4597-9138-BE8CA1109EB7}" type="datetimeFigureOut">
              <a:rPr lang="en-US" smtClean="0"/>
              <a:t>3/20/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91821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00450484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2890BC7C-93D8-4EEB-988E-F06ADE928B68}" type="datetime1">
              <a:rPr lang="en-US" smtClean="0"/>
              <a:t>3/20/2023</a:t>
            </a:fld>
            <a:endParaRPr lang="en-US"/>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r>
              <a:rPr lang="en-US"/>
              <a:t>Copyright ©Texas Education Agency, 2019.  All rights reserved.</a:t>
            </a:r>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00459049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05405738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21" name="Picture 20" descr="Map&#10;&#10;Description automatically generated">
            <a:extLst>
              <a:ext uri="{FF2B5EF4-FFF2-40B4-BE49-F238E27FC236}">
                <a16:creationId xmlns:a16="http://schemas.microsoft.com/office/drawing/2014/main" id="{F588C501-E58A-4047-A3CB-3B9F830F14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25522" y="-10146"/>
            <a:ext cx="9066478" cy="6851137"/>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6863"/>
            <a:ext cx="9917723" cy="6847854"/>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28723611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588C501-E58A-4047-A3CB-3B9F830F14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133999" y="-10146"/>
            <a:ext cx="9049523" cy="6851137"/>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0"/>
            <a:ext cx="9917723" cy="6840991"/>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102587974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588C501-E58A-4047-A3CB-3B9F830F14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74284" y="-10146"/>
            <a:ext cx="7968954" cy="6851137"/>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20293"/>
            <a:ext cx="9917723" cy="6861284"/>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267598203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588C501-E58A-4047-A3CB-3B9F830F14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125522" y="21076"/>
            <a:ext cx="9066478" cy="6788692"/>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20293"/>
            <a:ext cx="9917723" cy="6861284"/>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130363860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588C501-E58A-4047-A3CB-3B9F830F14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134325" y="99564"/>
            <a:ext cx="9023448" cy="6748290"/>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20293"/>
            <a:ext cx="9917723" cy="6861283"/>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84081062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588C501-E58A-4047-A3CB-3B9F830F14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125522" y="262547"/>
            <a:ext cx="9066478" cy="6305751"/>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10147"/>
            <a:ext cx="9917723" cy="6830844"/>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7816861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588C501-E58A-4047-A3CB-3B9F830F14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125522" y="310664"/>
            <a:ext cx="9066478" cy="6209517"/>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0"/>
            <a:ext cx="9917723" cy="6840991"/>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172436696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588C501-E58A-4047-A3CB-3B9F830F14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125522" y="595534"/>
            <a:ext cx="9066478" cy="5639777"/>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10147"/>
            <a:ext cx="9917723" cy="6830844"/>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626474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7855537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57109960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588C501-E58A-4047-A3CB-3B9F830F14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9715" b="18574"/>
          <a:stretch/>
        </p:blipFill>
        <p:spPr>
          <a:xfrm>
            <a:off x="3114914" y="300516"/>
            <a:ext cx="9087691" cy="6246822"/>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74277" y="0"/>
            <a:ext cx="9917723" cy="6840991"/>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304332271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6" name="Picture 5" descr="Whiteboard&#10;&#10;Description automatically generated">
            <a:extLst>
              <a:ext uri="{FF2B5EF4-FFF2-40B4-BE49-F238E27FC236}">
                <a16:creationId xmlns:a16="http://schemas.microsoft.com/office/drawing/2014/main" id="{AECE1F34-4F50-3B46-83CE-00C4B98C28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4788" y="-6084"/>
            <a:ext cx="9167212" cy="6860623"/>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86001" y="-10147"/>
            <a:ext cx="9905998" cy="6858000"/>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3855085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CE1F34-4F50-3B46-83CE-00C4B98C28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024788" y="239514"/>
            <a:ext cx="9167212" cy="6369426"/>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86001" y="-10146"/>
            <a:ext cx="9905998" cy="6857999"/>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83612674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CE1F34-4F50-3B46-83CE-00C4B98C28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024788" y="388726"/>
            <a:ext cx="9167212" cy="6071001"/>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86001" y="10147"/>
            <a:ext cx="9905998" cy="6837706"/>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293741624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8" name="Picture 7" descr="Whiteboard&#10;&#10;Description automatically generated with low confidence">
            <a:extLst>
              <a:ext uri="{FF2B5EF4-FFF2-40B4-BE49-F238E27FC236}">
                <a16:creationId xmlns:a16="http://schemas.microsoft.com/office/drawing/2014/main" id="{DA6734B8-E590-3C4C-B1F5-BD4A6FD0B1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70090" y="73491"/>
            <a:ext cx="9242523" cy="6774361"/>
          </a:xfrm>
          <a:prstGeom prst="rect">
            <a:avLst/>
          </a:prstGeom>
        </p:spPr>
      </p:pic>
      <p:sp>
        <p:nvSpPr>
          <p:cNvPr id="3" name="Rectangle 2">
            <a:extLst>
              <a:ext uri="{FF2B5EF4-FFF2-40B4-BE49-F238E27FC236}">
                <a16:creationId xmlns:a16="http://schemas.microsoft.com/office/drawing/2014/main" id="{475746C8-087F-594E-BA54-15F9492B8AC2}"/>
              </a:ext>
            </a:extLst>
          </p:cNvPr>
          <p:cNvSpPr/>
          <p:nvPr userDrawn="1"/>
        </p:nvSpPr>
        <p:spPr>
          <a:xfrm>
            <a:off x="2286001" y="1"/>
            <a:ext cx="9905998" cy="6847852"/>
          </a:xfrm>
          <a:prstGeom prst="rect">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600964" y="4380057"/>
            <a:ext cx="8115593" cy="2045374"/>
          </a:xfrm>
          <a:noFill/>
          <a:ln>
            <a:noFill/>
          </a:ln>
        </p:spPr>
        <p:txBody>
          <a:bodyPr anchor="b">
            <a:noAutofit/>
          </a:bodyPr>
          <a:lstStyle>
            <a:lvl1pPr algn="l">
              <a:defRPr sz="4400" b="0">
                <a:solidFill>
                  <a:schemeClr val="accent6"/>
                </a:solidFill>
                <a:latin typeface="+mj-lt"/>
              </a:defRPr>
            </a:lvl1pPr>
          </a:lstStyle>
          <a:p>
            <a:r>
              <a:rPr lang="en-US"/>
              <a:t>CLICK TO EDIT MASTER TITLE OR SECTION BREAK</a:t>
            </a:r>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112378905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3100B2D8-F310-F349-9CEA-32BBFE60378C}"/>
              </a:ext>
            </a:extLst>
          </p:cNvPr>
          <p:cNvSpPr/>
          <p:nvPr userDrawn="1"/>
        </p:nvSpPr>
        <p:spPr>
          <a:xfrm>
            <a:off x="475443"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9">
            <a:extLst>
              <a:ext uri="{FF2B5EF4-FFF2-40B4-BE49-F238E27FC236}">
                <a16:creationId xmlns:a16="http://schemas.microsoft.com/office/drawing/2014/main" id="{78F1E7D3-7B65-FA44-B6C1-CE520F3A0B93}"/>
              </a:ext>
            </a:extLst>
          </p:cNvPr>
          <p:cNvSpPr/>
          <p:nvPr userDrawn="1"/>
        </p:nvSpPr>
        <p:spPr>
          <a:xfrm>
            <a:off x="237722" y="-20293"/>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1" y="-10146"/>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picture containing text, clipart&#10;&#10;Description automatically generated">
            <a:extLst>
              <a:ext uri="{FF2B5EF4-FFF2-40B4-BE49-F238E27FC236}">
                <a16:creationId xmlns:a16="http://schemas.microsoft.com/office/drawing/2014/main" id="{CFDAB38A-AD4C-3A44-96C2-28083EAE69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8467" y="370765"/>
            <a:ext cx="1367024" cy="672120"/>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2771343"/>
            <a:ext cx="2474034" cy="1507579"/>
          </a:xfrm>
          <a:prstGeom prst="rect">
            <a:avLst/>
          </a:prstGeom>
        </p:spPr>
        <p:txBody>
          <a:bodyPr/>
          <a:lstStyle>
            <a:lvl1pPr marL="0" indent="0" algn="ctr">
              <a:buNone/>
              <a:defRPr sz="4800">
                <a:latin typeface="+mj-lt"/>
              </a:defRPr>
            </a:lvl1pPr>
          </a:lstStyle>
          <a:p>
            <a:pPr lvl="0"/>
            <a:r>
              <a:rPr lang="en-US"/>
              <a:t>CHAPTER </a:t>
            </a:r>
          </a:p>
          <a:p>
            <a:pPr lvl="0"/>
            <a:r>
              <a:rPr lang="en-US"/>
              <a:t>#</a:t>
            </a:r>
          </a:p>
        </p:txBody>
      </p:sp>
    </p:spTree>
    <p:extLst>
      <p:ext uri="{BB962C8B-B14F-4D97-AF65-F5344CB8AC3E}">
        <p14:creationId xmlns:p14="http://schemas.microsoft.com/office/powerpoint/2010/main" val="188212563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3100B2D8-F310-F349-9CEA-32BBFE60378C}"/>
              </a:ext>
            </a:extLst>
          </p:cNvPr>
          <p:cNvSpPr/>
          <p:nvPr userDrawn="1"/>
        </p:nvSpPr>
        <p:spPr>
          <a:xfrm>
            <a:off x="5415305" y="-10147"/>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9">
            <a:extLst>
              <a:ext uri="{FF2B5EF4-FFF2-40B4-BE49-F238E27FC236}">
                <a16:creationId xmlns:a16="http://schemas.microsoft.com/office/drawing/2014/main" id="{78F1E7D3-7B65-FA44-B6C1-CE520F3A0B93}"/>
              </a:ext>
            </a:extLst>
          </p:cNvPr>
          <p:cNvSpPr/>
          <p:nvPr userDrawn="1"/>
        </p:nvSpPr>
        <p:spPr>
          <a:xfrm>
            <a:off x="5177584" y="-10147"/>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4939863" y="-10147"/>
            <a:ext cx="3100096" cy="6878293"/>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Rectangle 1">
            <a:extLst>
              <a:ext uri="{FF2B5EF4-FFF2-40B4-BE49-F238E27FC236}">
                <a16:creationId xmlns:a16="http://schemas.microsoft.com/office/drawing/2014/main" id="{3BB97C8E-E31E-C64F-856C-876805776BEC}"/>
              </a:ext>
            </a:extLst>
          </p:cNvPr>
          <p:cNvSpPr/>
          <p:nvPr userDrawn="1"/>
        </p:nvSpPr>
        <p:spPr>
          <a:xfrm>
            <a:off x="0" y="0"/>
            <a:ext cx="4939863" cy="68681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Logo&#10;&#10;Description automatically generated">
            <a:extLst>
              <a:ext uri="{FF2B5EF4-FFF2-40B4-BE49-F238E27FC236}">
                <a16:creationId xmlns:a16="http://schemas.microsoft.com/office/drawing/2014/main" id="{241BF88D-1CB2-844B-8993-A62AEED863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18177" y="6025294"/>
            <a:ext cx="1421603" cy="701325"/>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3034102"/>
            <a:ext cx="7380540" cy="2221071"/>
          </a:xfrm>
          <a:prstGeom prst="rect">
            <a:avLst/>
          </a:prstGeom>
        </p:spPr>
        <p:txBody>
          <a:bodyPr/>
          <a:lstStyle>
            <a:lvl1pPr marL="0" indent="0" algn="ctr">
              <a:buNone/>
              <a:defRPr sz="4800">
                <a:latin typeface="+mj-lt"/>
              </a:defRPr>
            </a:lvl1pPr>
          </a:lstStyle>
          <a:p>
            <a:pPr lvl="0"/>
            <a:r>
              <a:rPr lang="en-US"/>
              <a:t>Header for Section</a:t>
            </a:r>
          </a:p>
        </p:txBody>
      </p:sp>
      <p:sp>
        <p:nvSpPr>
          <p:cNvPr id="11" name="TextBox 10">
            <a:extLst>
              <a:ext uri="{FF2B5EF4-FFF2-40B4-BE49-F238E27FC236}">
                <a16:creationId xmlns:a16="http://schemas.microsoft.com/office/drawing/2014/main" id="{26A14072-6BB1-5D44-AA91-3195A3A3FBF0}"/>
              </a:ext>
            </a:extLst>
          </p:cNvPr>
          <p:cNvSpPr txBox="1"/>
          <p:nvPr userDrawn="1"/>
        </p:nvSpPr>
        <p:spPr>
          <a:xfrm>
            <a:off x="1173392" y="391612"/>
            <a:ext cx="3851354" cy="523220"/>
          </a:xfrm>
          <a:prstGeom prst="rect">
            <a:avLst/>
          </a:prstGeom>
          <a:noFill/>
        </p:spPr>
        <p:txBody>
          <a:bodyPr wrap="square">
            <a:spAutoFit/>
          </a:bodyPr>
          <a:lstStyle/>
          <a:p>
            <a:r>
              <a:rPr lang="en-US" sz="2800">
                <a:solidFill>
                  <a:schemeClr val="bg1"/>
                </a:solidFill>
              </a:rPr>
              <a:t>Pause for Understanding</a:t>
            </a:r>
          </a:p>
        </p:txBody>
      </p:sp>
      <p:cxnSp>
        <p:nvCxnSpPr>
          <p:cNvPr id="13" name="Straight Connector 12">
            <a:extLst>
              <a:ext uri="{FF2B5EF4-FFF2-40B4-BE49-F238E27FC236}">
                <a16:creationId xmlns:a16="http://schemas.microsoft.com/office/drawing/2014/main" id="{BAEA37B6-4B3A-D343-AC89-40A444CB41DF}"/>
              </a:ext>
            </a:extLst>
          </p:cNvPr>
          <p:cNvCxnSpPr/>
          <p:nvPr userDrawn="1"/>
        </p:nvCxnSpPr>
        <p:spPr>
          <a:xfrm>
            <a:off x="1236452" y="893766"/>
            <a:ext cx="396467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C22AD01-01E7-9F43-8FF4-04261361C56F}"/>
              </a:ext>
            </a:extLst>
          </p:cNvPr>
          <p:cNvSpPr/>
          <p:nvPr userDrawn="1"/>
        </p:nvSpPr>
        <p:spPr>
          <a:xfrm>
            <a:off x="250133" y="259592"/>
            <a:ext cx="861520" cy="86152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descr="Pause with solid fill">
            <a:extLst>
              <a:ext uri="{FF2B5EF4-FFF2-40B4-BE49-F238E27FC236}">
                <a16:creationId xmlns:a16="http://schemas.microsoft.com/office/drawing/2014/main" id="{4D24229B-6B14-1049-A03B-1C6072E02BE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7581" y="387040"/>
            <a:ext cx="606623" cy="606623"/>
          </a:xfrm>
          <a:prstGeom prst="rect">
            <a:avLst/>
          </a:prstGeom>
        </p:spPr>
      </p:pic>
    </p:spTree>
    <p:extLst>
      <p:ext uri="{BB962C8B-B14F-4D97-AF65-F5344CB8AC3E}">
        <p14:creationId xmlns:p14="http://schemas.microsoft.com/office/powerpoint/2010/main" val="32061868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3100B2D8-F310-F349-9CEA-32BBFE60378C}"/>
              </a:ext>
            </a:extLst>
          </p:cNvPr>
          <p:cNvSpPr/>
          <p:nvPr userDrawn="1"/>
        </p:nvSpPr>
        <p:spPr>
          <a:xfrm>
            <a:off x="5415305" y="-10147"/>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9">
            <a:extLst>
              <a:ext uri="{FF2B5EF4-FFF2-40B4-BE49-F238E27FC236}">
                <a16:creationId xmlns:a16="http://schemas.microsoft.com/office/drawing/2014/main" id="{78F1E7D3-7B65-FA44-B6C1-CE520F3A0B93}"/>
              </a:ext>
            </a:extLst>
          </p:cNvPr>
          <p:cNvSpPr/>
          <p:nvPr userDrawn="1"/>
        </p:nvSpPr>
        <p:spPr>
          <a:xfrm>
            <a:off x="5177584" y="-10147"/>
            <a:ext cx="3100096" cy="6868146"/>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B860579E-D0F4-3A42-BEDE-7D222A85BC70}"/>
              </a:ext>
            </a:extLst>
          </p:cNvPr>
          <p:cNvSpPr/>
          <p:nvPr userDrawn="1"/>
        </p:nvSpPr>
        <p:spPr>
          <a:xfrm>
            <a:off x="4939863" y="-10147"/>
            <a:ext cx="3100096" cy="6878293"/>
          </a:xfrm>
          <a:custGeom>
            <a:avLst/>
            <a:gdLst>
              <a:gd name="connsiteX0" fmla="*/ 3293403 w 3956748"/>
              <a:gd name="connsiteY0" fmla="*/ 0 h 6868146"/>
              <a:gd name="connsiteX1" fmla="*/ 3956748 w 3956748"/>
              <a:gd name="connsiteY1" fmla="*/ 3411994 h 6868146"/>
              <a:gd name="connsiteX2" fmla="*/ 3293403 w 3956748"/>
              <a:gd name="connsiteY2" fmla="*/ 6823983 h 6868146"/>
              <a:gd name="connsiteX3" fmla="*/ 3293403 w 3956748"/>
              <a:gd name="connsiteY3" fmla="*/ 6868146 h 6868146"/>
              <a:gd name="connsiteX4" fmla="*/ 0 w 3956748"/>
              <a:gd name="connsiteY4" fmla="*/ 6868146 h 6868146"/>
              <a:gd name="connsiteX5" fmla="*/ 0 w 3956748"/>
              <a:gd name="connsiteY5" fmla="*/ 10146 h 6868146"/>
              <a:gd name="connsiteX6" fmla="*/ 3293403 w 3956748"/>
              <a:gd name="connsiteY6" fmla="*/ 10146 h 686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6748" h="6868146">
                <a:moveTo>
                  <a:pt x="3293403" y="0"/>
                </a:moveTo>
                <a:lnTo>
                  <a:pt x="3956748" y="3411994"/>
                </a:lnTo>
                <a:lnTo>
                  <a:pt x="3293403" y="6823983"/>
                </a:lnTo>
                <a:lnTo>
                  <a:pt x="3293403" y="6868146"/>
                </a:lnTo>
                <a:lnTo>
                  <a:pt x="0" y="6868146"/>
                </a:lnTo>
                <a:lnTo>
                  <a:pt x="0" y="10146"/>
                </a:lnTo>
                <a:lnTo>
                  <a:pt x="3293403" y="1014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Rectangle 1">
            <a:extLst>
              <a:ext uri="{FF2B5EF4-FFF2-40B4-BE49-F238E27FC236}">
                <a16:creationId xmlns:a16="http://schemas.microsoft.com/office/drawing/2014/main" id="{3BB97C8E-E31E-C64F-856C-876805776BEC}"/>
              </a:ext>
            </a:extLst>
          </p:cNvPr>
          <p:cNvSpPr/>
          <p:nvPr userDrawn="1"/>
        </p:nvSpPr>
        <p:spPr>
          <a:xfrm>
            <a:off x="0" y="0"/>
            <a:ext cx="4939863" cy="68681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Logo&#10;&#10;Description automatically generated">
            <a:extLst>
              <a:ext uri="{FF2B5EF4-FFF2-40B4-BE49-F238E27FC236}">
                <a16:creationId xmlns:a16="http://schemas.microsoft.com/office/drawing/2014/main" id="{241BF88D-1CB2-844B-8993-A62AEED863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18177" y="6025294"/>
            <a:ext cx="1421603" cy="701325"/>
          </a:xfrm>
          <a:prstGeom prst="rect">
            <a:avLst/>
          </a:prstGeom>
        </p:spPr>
      </p:pic>
      <p:sp>
        <p:nvSpPr>
          <p:cNvPr id="7" name="Text Placeholder 6">
            <a:extLst>
              <a:ext uri="{FF2B5EF4-FFF2-40B4-BE49-F238E27FC236}">
                <a16:creationId xmlns:a16="http://schemas.microsoft.com/office/drawing/2014/main" id="{4F744752-6286-AE4B-9997-36CF3A3D1077}"/>
              </a:ext>
            </a:extLst>
          </p:cNvPr>
          <p:cNvSpPr>
            <a:spLocks noGrp="1"/>
          </p:cNvSpPr>
          <p:nvPr>
            <p:ph type="body" sz="quarter" idx="10" hasCustomPrompt="1"/>
          </p:nvPr>
        </p:nvSpPr>
        <p:spPr>
          <a:xfrm>
            <a:off x="313032" y="3034102"/>
            <a:ext cx="7380540" cy="2221071"/>
          </a:xfrm>
          <a:prstGeom prst="rect">
            <a:avLst/>
          </a:prstGeom>
        </p:spPr>
        <p:txBody>
          <a:bodyPr/>
          <a:lstStyle>
            <a:lvl1pPr marL="0" indent="0" algn="ctr">
              <a:buNone/>
              <a:defRPr sz="4800">
                <a:latin typeface="+mj-lt"/>
              </a:defRPr>
            </a:lvl1pPr>
          </a:lstStyle>
          <a:p>
            <a:pPr lvl="0"/>
            <a:r>
              <a:rPr lang="en-US"/>
              <a:t>Header for Section</a:t>
            </a:r>
          </a:p>
        </p:txBody>
      </p:sp>
    </p:spTree>
    <p:extLst>
      <p:ext uri="{BB962C8B-B14F-4D97-AF65-F5344CB8AC3E}">
        <p14:creationId xmlns:p14="http://schemas.microsoft.com/office/powerpoint/2010/main" val="42631498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B505CB7-8979-7445-8887-9EEE62657A0C}"/>
              </a:ext>
            </a:extLst>
          </p:cNvPr>
          <p:cNvSpPr/>
          <p:nvPr userDrawn="1"/>
        </p:nvSpPr>
        <p:spPr>
          <a:xfrm rot="10800000">
            <a:off x="1429353" y="6330161"/>
            <a:ext cx="10762647" cy="365126"/>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EE76E7F4-D7F4-C34E-9BD8-1C047C79D016}"/>
              </a:ext>
            </a:extLst>
          </p:cNvPr>
          <p:cNvSpPr/>
          <p:nvPr userDrawn="1"/>
        </p:nvSpPr>
        <p:spPr>
          <a:xfrm>
            <a:off x="906240" y="-8602"/>
            <a:ext cx="10980960" cy="1014701"/>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0E04AF0C-681D-DA48-8100-43E62C4582F4}"/>
              </a:ext>
            </a:extLst>
          </p:cNvPr>
          <p:cNvSpPr/>
          <p:nvPr userDrawn="1"/>
        </p:nvSpPr>
        <p:spPr>
          <a:xfrm rot="10800000">
            <a:off x="10855627" y="5614327"/>
            <a:ext cx="1336373" cy="1243673"/>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89447FAB-F12A-8B42-B944-B9CE3D4B673A}"/>
              </a:ext>
            </a:extLst>
          </p:cNvPr>
          <p:cNvSpPr>
            <a:spLocks noGrp="1"/>
          </p:cNvSpPr>
          <p:nvPr>
            <p:ph type="title" hasCustomPrompt="1"/>
          </p:nvPr>
        </p:nvSpPr>
        <p:spPr>
          <a:xfrm>
            <a:off x="1491537" y="133478"/>
            <a:ext cx="9129571" cy="751350"/>
          </a:xfrm>
        </p:spPr>
        <p:txBody>
          <a:bodyPr>
            <a:normAutofit/>
          </a:bodyPr>
          <a:lstStyle>
            <a:lvl1pPr algn="l">
              <a:defRPr sz="3200" b="0">
                <a:solidFill>
                  <a:schemeClr val="bg1"/>
                </a:solidFill>
                <a:latin typeface="+mn-lt"/>
              </a:defRPr>
            </a:lvl1pPr>
          </a:lstStyle>
          <a:p>
            <a:r>
              <a:rPr lang="en-US"/>
              <a:t>Click to add header</a:t>
            </a:r>
          </a:p>
        </p:txBody>
      </p:sp>
      <p:sp>
        <p:nvSpPr>
          <p:cNvPr id="18" name="Content Placeholder 2">
            <a:extLst>
              <a:ext uri="{FF2B5EF4-FFF2-40B4-BE49-F238E27FC236}">
                <a16:creationId xmlns:a16="http://schemas.microsoft.com/office/drawing/2014/main" id="{97207EE7-C790-AC4C-BD01-54D29145596F}"/>
              </a:ext>
            </a:extLst>
          </p:cNvPr>
          <p:cNvSpPr>
            <a:spLocks noGrp="1"/>
          </p:cNvSpPr>
          <p:nvPr>
            <p:ph idx="1"/>
          </p:nvPr>
        </p:nvSpPr>
        <p:spPr>
          <a:xfrm>
            <a:off x="712380" y="1290387"/>
            <a:ext cx="10623762" cy="4755486"/>
          </a:xfrm>
          <a:prstGeom prst="rect">
            <a:avLst/>
          </a:prstGeom>
        </p:spPr>
        <p:txBody>
          <a:bodyPr/>
          <a:lstStyle>
            <a:lvl1pPr>
              <a:buClr>
                <a:schemeClr val="accent6"/>
              </a:buClr>
              <a:defRPr>
                <a:solidFill>
                  <a:schemeClr val="tx1">
                    <a:lumMod val="85000"/>
                    <a:lumOff val="15000"/>
                  </a:schemeClr>
                </a:solidFill>
                <a:latin typeface="+mj-lt"/>
              </a:defRPr>
            </a:lvl1pPr>
            <a:lvl2pPr>
              <a:buClr>
                <a:schemeClr val="accent6"/>
              </a:buClr>
              <a:defRPr>
                <a:solidFill>
                  <a:schemeClr val="tx1">
                    <a:lumMod val="85000"/>
                    <a:lumOff val="15000"/>
                  </a:schemeClr>
                </a:solidFill>
                <a:latin typeface="+mj-lt"/>
              </a:defRPr>
            </a:lvl2pPr>
            <a:lvl3pPr>
              <a:buClr>
                <a:schemeClr val="accent6"/>
              </a:buClr>
              <a:defRPr>
                <a:solidFill>
                  <a:schemeClr val="tx1">
                    <a:lumMod val="85000"/>
                    <a:lumOff val="15000"/>
                  </a:schemeClr>
                </a:solidFill>
                <a:latin typeface="+mj-lt"/>
              </a:defRPr>
            </a:lvl3pPr>
            <a:lvl4pPr>
              <a:buClr>
                <a:schemeClr val="accent6"/>
              </a:buClr>
              <a:defRPr>
                <a:solidFill>
                  <a:schemeClr val="tx1">
                    <a:lumMod val="85000"/>
                    <a:lumOff val="15000"/>
                  </a:schemeClr>
                </a:solidFill>
                <a:latin typeface="+mj-lt"/>
              </a:defRPr>
            </a:lvl4pPr>
            <a:lvl5pPr>
              <a:buClr>
                <a:schemeClr val="accent6"/>
              </a:buClr>
              <a:defRPr>
                <a:solidFill>
                  <a:schemeClr val="tx1">
                    <a:lumMod val="85000"/>
                    <a:lumOff val="15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2D0755AD-F676-3047-A2D2-7CFD9D36BB51}"/>
              </a:ext>
            </a:extLst>
          </p:cNvPr>
          <p:cNvSpPr>
            <a:spLocks noGrp="1"/>
          </p:cNvSpPr>
          <p:nvPr>
            <p:ph type="ftr" sz="quarter" idx="3"/>
          </p:nvPr>
        </p:nvSpPr>
        <p:spPr>
          <a:xfrm>
            <a:off x="3851030" y="6491866"/>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Slide Number Placeholder 5">
            <a:extLst>
              <a:ext uri="{FF2B5EF4-FFF2-40B4-BE49-F238E27FC236}">
                <a16:creationId xmlns:a16="http://schemas.microsoft.com/office/drawing/2014/main" id="{861DC1F4-AE4C-A540-8D11-FB086652F711}"/>
              </a:ext>
            </a:extLst>
          </p:cNvPr>
          <p:cNvSpPr>
            <a:spLocks noGrp="1"/>
          </p:cNvSpPr>
          <p:nvPr>
            <p:ph type="sldNum" sz="quarter" idx="4"/>
          </p:nvPr>
        </p:nvSpPr>
        <p:spPr>
          <a:xfrm>
            <a:off x="6744142" y="6492875"/>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21" name="Picture 20">
            <a:extLst>
              <a:ext uri="{FF2B5EF4-FFF2-40B4-BE49-F238E27FC236}">
                <a16:creationId xmlns:a16="http://schemas.microsoft.com/office/drawing/2014/main" id="{C2AF69F6-4BC9-7444-8C44-583B9AC48E44}"/>
              </a:ext>
            </a:extLst>
          </p:cNvPr>
          <p:cNvPicPr>
            <a:picLocks noChangeAspect="1"/>
          </p:cNvPicPr>
          <p:nvPr userDrawn="1"/>
        </p:nvPicPr>
        <p:blipFill>
          <a:blip r:embed="rId2"/>
          <a:stretch>
            <a:fillRect/>
          </a:stretch>
        </p:blipFill>
        <p:spPr>
          <a:xfrm>
            <a:off x="11210760" y="5736515"/>
            <a:ext cx="766958" cy="990385"/>
          </a:xfrm>
          <a:prstGeom prst="rect">
            <a:avLst/>
          </a:prstGeom>
          <a:ln w="19050">
            <a:solidFill>
              <a:schemeClr val="bg1"/>
            </a:solidFill>
          </a:ln>
        </p:spPr>
      </p:pic>
      <p:sp>
        <p:nvSpPr>
          <p:cNvPr id="22" name="Rectangle 21">
            <a:extLst>
              <a:ext uri="{FF2B5EF4-FFF2-40B4-BE49-F238E27FC236}">
                <a16:creationId xmlns:a16="http://schemas.microsoft.com/office/drawing/2014/main" id="{13708847-A686-E34B-B146-411C28A25638}"/>
              </a:ext>
            </a:extLst>
          </p:cNvPr>
          <p:cNvSpPr/>
          <p:nvPr userDrawn="1"/>
        </p:nvSpPr>
        <p:spPr>
          <a:xfrm>
            <a:off x="11066959" y="5960299"/>
            <a:ext cx="1063173" cy="525969"/>
          </a:xfrm>
          <a:prstGeom prst="rect">
            <a:avLst/>
          </a:prstGeom>
          <a:solidFill>
            <a:schemeClr val="accent2">
              <a:alpha val="8488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6">
            <a:extLst>
              <a:ext uri="{FF2B5EF4-FFF2-40B4-BE49-F238E27FC236}">
                <a16:creationId xmlns:a16="http://schemas.microsoft.com/office/drawing/2014/main" id="{27D00C30-24E8-F943-97C6-D4A81F18B7D0}"/>
              </a:ext>
            </a:extLst>
          </p:cNvPr>
          <p:cNvSpPr>
            <a:spLocks noGrp="1"/>
          </p:cNvSpPr>
          <p:nvPr>
            <p:ph type="body" sz="quarter" idx="10" hasCustomPrompt="1"/>
          </p:nvPr>
        </p:nvSpPr>
        <p:spPr>
          <a:xfrm>
            <a:off x="11066960" y="6182827"/>
            <a:ext cx="1054560" cy="321197"/>
          </a:xfrm>
          <a:prstGeom prst="rect">
            <a:avLst/>
          </a:prstGeom>
        </p:spPr>
        <p:txBody>
          <a:bodyPr/>
          <a:lstStyle>
            <a:lvl1pPr marL="0" indent="0" algn="ctr">
              <a:buNone/>
              <a:defRPr sz="1800" b="1"/>
            </a:lvl1pPr>
          </a:lstStyle>
          <a:p>
            <a:pPr lvl="0"/>
            <a:r>
              <a:rPr lang="en-US"/>
              <a:t>#</a:t>
            </a:r>
          </a:p>
        </p:txBody>
      </p:sp>
      <p:sp>
        <p:nvSpPr>
          <p:cNvPr id="24" name="Freeform 23">
            <a:extLst>
              <a:ext uri="{FF2B5EF4-FFF2-40B4-BE49-F238E27FC236}">
                <a16:creationId xmlns:a16="http://schemas.microsoft.com/office/drawing/2014/main" id="{D222E612-1A36-4143-8AFC-2C3E252ED80E}"/>
              </a:ext>
            </a:extLst>
          </p:cNvPr>
          <p:cNvSpPr/>
          <p:nvPr userDrawn="1"/>
        </p:nvSpPr>
        <p:spPr>
          <a:xfrm>
            <a:off x="165476"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3B2C926A-0DD1-684E-AE5E-9B72F29944B5}"/>
              </a:ext>
            </a:extLst>
          </p:cNvPr>
          <p:cNvSpPr/>
          <p:nvPr userDrawn="1"/>
        </p:nvSpPr>
        <p:spPr>
          <a:xfrm>
            <a:off x="0"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6" name="Picture 25" descr="Logo&#10;&#10;Description automatically generated">
            <a:extLst>
              <a:ext uri="{FF2B5EF4-FFF2-40B4-BE49-F238E27FC236}">
                <a16:creationId xmlns:a16="http://schemas.microsoft.com/office/drawing/2014/main" id="{1AEDF18C-DF70-2B42-ADE2-A29A4FBBDA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5488" y="6256523"/>
            <a:ext cx="1019318" cy="502864"/>
          </a:xfrm>
          <a:prstGeom prst="rect">
            <a:avLst/>
          </a:prstGeom>
        </p:spPr>
      </p:pic>
      <p:sp>
        <p:nvSpPr>
          <p:cNvPr id="9" name="TextBox 8">
            <a:extLst>
              <a:ext uri="{FF2B5EF4-FFF2-40B4-BE49-F238E27FC236}">
                <a16:creationId xmlns:a16="http://schemas.microsoft.com/office/drawing/2014/main" id="{3F717B55-7128-A048-A13B-D142D60C1111}"/>
              </a:ext>
            </a:extLst>
          </p:cNvPr>
          <p:cNvSpPr txBox="1"/>
          <p:nvPr userDrawn="1"/>
        </p:nvSpPr>
        <p:spPr>
          <a:xfrm>
            <a:off x="11289555" y="5901684"/>
            <a:ext cx="922482" cy="338554"/>
          </a:xfrm>
          <a:prstGeom prst="rect">
            <a:avLst/>
          </a:prstGeom>
          <a:noFill/>
        </p:spPr>
        <p:txBody>
          <a:bodyPr wrap="square" rtlCol="0">
            <a:spAutoFit/>
          </a:bodyPr>
          <a:lstStyle/>
          <a:p>
            <a:r>
              <a:rPr lang="en-US" sz="1600" b="1">
                <a:solidFill>
                  <a:schemeClr val="bg1"/>
                </a:solidFill>
              </a:rPr>
              <a:t>Page:</a:t>
            </a:r>
          </a:p>
        </p:txBody>
      </p:sp>
    </p:spTree>
    <p:extLst>
      <p:ext uri="{BB962C8B-B14F-4D97-AF65-F5344CB8AC3E}">
        <p14:creationId xmlns:p14="http://schemas.microsoft.com/office/powerpoint/2010/main" val="286573958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0" name="Freeform 19">
            <a:extLst>
              <a:ext uri="{FF2B5EF4-FFF2-40B4-BE49-F238E27FC236}">
                <a16:creationId xmlns:a16="http://schemas.microsoft.com/office/drawing/2014/main" id="{99D2D209-1CD8-214B-A648-881E788E4072}"/>
              </a:ext>
            </a:extLst>
          </p:cNvPr>
          <p:cNvSpPr/>
          <p:nvPr userDrawn="1"/>
        </p:nvSpPr>
        <p:spPr>
          <a:xfrm rot="10800000">
            <a:off x="1429353" y="6315719"/>
            <a:ext cx="10762647" cy="365126"/>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0329562B-F8B6-9A4F-AC03-BA2A7606FA8F}"/>
              </a:ext>
            </a:extLst>
          </p:cNvPr>
          <p:cNvSpPr/>
          <p:nvPr userDrawn="1"/>
        </p:nvSpPr>
        <p:spPr>
          <a:xfrm>
            <a:off x="906240" y="-8602"/>
            <a:ext cx="10980960" cy="1014701"/>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491537" y="133478"/>
            <a:ext cx="9129571" cy="751350"/>
          </a:xfrm>
        </p:spPr>
        <p:txBody>
          <a:bodyPr>
            <a:normAutofit/>
          </a:bodyPr>
          <a:lstStyle>
            <a:lvl1pPr algn="l">
              <a:defRPr sz="3200" b="0">
                <a:solidFill>
                  <a:schemeClr val="bg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90387"/>
            <a:ext cx="10623762" cy="4755486"/>
          </a:xfrm>
          <a:prstGeom prst="rect">
            <a:avLst/>
          </a:prstGeom>
        </p:spPr>
        <p:txBody>
          <a:bodyPr/>
          <a:lstStyle>
            <a:lvl1pPr>
              <a:buClr>
                <a:schemeClr val="accent6"/>
              </a:buClr>
              <a:defRPr>
                <a:solidFill>
                  <a:schemeClr val="tx1">
                    <a:lumMod val="85000"/>
                    <a:lumOff val="15000"/>
                  </a:schemeClr>
                </a:solidFill>
                <a:latin typeface="+mj-lt"/>
              </a:defRPr>
            </a:lvl1pPr>
            <a:lvl2pPr>
              <a:buClr>
                <a:schemeClr val="accent6"/>
              </a:buClr>
              <a:defRPr>
                <a:solidFill>
                  <a:schemeClr val="tx1">
                    <a:lumMod val="85000"/>
                    <a:lumOff val="15000"/>
                  </a:schemeClr>
                </a:solidFill>
                <a:latin typeface="+mj-lt"/>
              </a:defRPr>
            </a:lvl2pPr>
            <a:lvl3pPr>
              <a:buClr>
                <a:schemeClr val="accent6"/>
              </a:buClr>
              <a:defRPr>
                <a:solidFill>
                  <a:schemeClr val="tx1">
                    <a:lumMod val="85000"/>
                    <a:lumOff val="15000"/>
                  </a:schemeClr>
                </a:solidFill>
                <a:latin typeface="+mj-lt"/>
              </a:defRPr>
            </a:lvl3pPr>
            <a:lvl4pPr>
              <a:buClr>
                <a:schemeClr val="accent6"/>
              </a:buClr>
              <a:defRPr>
                <a:solidFill>
                  <a:schemeClr val="tx1">
                    <a:lumMod val="85000"/>
                    <a:lumOff val="15000"/>
                  </a:schemeClr>
                </a:solidFill>
                <a:latin typeface="+mj-lt"/>
              </a:defRPr>
            </a:lvl4pPr>
            <a:lvl5pPr>
              <a:buClr>
                <a:schemeClr val="accent6"/>
              </a:buClr>
              <a:defRPr>
                <a:solidFill>
                  <a:schemeClr val="tx1">
                    <a:lumMod val="85000"/>
                    <a:lumOff val="15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3851030" y="6491866"/>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6744142" y="6492875"/>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2" name="Freeform 11">
            <a:extLst>
              <a:ext uri="{FF2B5EF4-FFF2-40B4-BE49-F238E27FC236}">
                <a16:creationId xmlns:a16="http://schemas.microsoft.com/office/drawing/2014/main" id="{32E9F73C-F936-0740-BB53-4938F59AD4CB}"/>
              </a:ext>
            </a:extLst>
          </p:cNvPr>
          <p:cNvSpPr/>
          <p:nvPr userDrawn="1"/>
        </p:nvSpPr>
        <p:spPr>
          <a:xfrm>
            <a:off x="165476"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17">
            <a:extLst>
              <a:ext uri="{FF2B5EF4-FFF2-40B4-BE49-F238E27FC236}">
                <a16:creationId xmlns:a16="http://schemas.microsoft.com/office/drawing/2014/main" id="{EBEED925-F052-1A44-84B1-B755FE7A2C0B}"/>
              </a:ext>
            </a:extLst>
          </p:cNvPr>
          <p:cNvSpPr/>
          <p:nvPr userDrawn="1"/>
        </p:nvSpPr>
        <p:spPr>
          <a:xfrm>
            <a:off x="0"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descr="Logo&#10;&#10;Description automatically generated">
            <a:extLst>
              <a:ext uri="{FF2B5EF4-FFF2-40B4-BE49-F238E27FC236}">
                <a16:creationId xmlns:a16="http://schemas.microsoft.com/office/drawing/2014/main" id="{D22EEC63-7F8D-E74E-BFA2-7B92614846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5488" y="6256523"/>
            <a:ext cx="1019318" cy="502864"/>
          </a:xfrm>
          <a:prstGeom prst="rect">
            <a:avLst/>
          </a:prstGeom>
        </p:spPr>
      </p:pic>
    </p:spTree>
    <p:extLst>
      <p:ext uri="{BB962C8B-B14F-4D97-AF65-F5344CB8AC3E}">
        <p14:creationId xmlns:p14="http://schemas.microsoft.com/office/powerpoint/2010/main" val="19175433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343947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B505CB7-8979-7445-8887-9EEE62657A0C}"/>
              </a:ext>
            </a:extLst>
          </p:cNvPr>
          <p:cNvSpPr/>
          <p:nvPr userDrawn="1"/>
        </p:nvSpPr>
        <p:spPr>
          <a:xfrm rot="10800000">
            <a:off x="1429353" y="6330161"/>
            <a:ext cx="10762647" cy="365126"/>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solidFill>
            <a:srgbClr val="2A82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EE76E7F4-D7F4-C34E-9BD8-1C047C79D016}"/>
              </a:ext>
            </a:extLst>
          </p:cNvPr>
          <p:cNvSpPr/>
          <p:nvPr userDrawn="1"/>
        </p:nvSpPr>
        <p:spPr>
          <a:xfrm>
            <a:off x="906240" y="-8602"/>
            <a:ext cx="10980960" cy="1014701"/>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0E04AF0C-681D-DA48-8100-43E62C4582F4}"/>
              </a:ext>
            </a:extLst>
          </p:cNvPr>
          <p:cNvSpPr/>
          <p:nvPr userDrawn="1"/>
        </p:nvSpPr>
        <p:spPr>
          <a:xfrm rot="10800000">
            <a:off x="10855627" y="5614327"/>
            <a:ext cx="1336373" cy="1243673"/>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89447FAB-F12A-8B42-B944-B9CE3D4B673A}"/>
              </a:ext>
            </a:extLst>
          </p:cNvPr>
          <p:cNvSpPr>
            <a:spLocks noGrp="1"/>
          </p:cNvSpPr>
          <p:nvPr>
            <p:ph type="title" hasCustomPrompt="1"/>
          </p:nvPr>
        </p:nvSpPr>
        <p:spPr>
          <a:xfrm>
            <a:off x="1491537" y="133478"/>
            <a:ext cx="9129571" cy="751350"/>
          </a:xfrm>
        </p:spPr>
        <p:txBody>
          <a:bodyPr>
            <a:normAutofit/>
          </a:bodyPr>
          <a:lstStyle>
            <a:lvl1pPr algn="l">
              <a:defRPr sz="3200" b="0">
                <a:solidFill>
                  <a:schemeClr val="bg1"/>
                </a:solidFill>
                <a:latin typeface="+mn-lt"/>
              </a:defRPr>
            </a:lvl1pPr>
          </a:lstStyle>
          <a:p>
            <a:r>
              <a:rPr lang="en-US"/>
              <a:t>Click to add header</a:t>
            </a:r>
          </a:p>
        </p:txBody>
      </p:sp>
      <p:sp>
        <p:nvSpPr>
          <p:cNvPr id="18" name="Content Placeholder 2">
            <a:extLst>
              <a:ext uri="{FF2B5EF4-FFF2-40B4-BE49-F238E27FC236}">
                <a16:creationId xmlns:a16="http://schemas.microsoft.com/office/drawing/2014/main" id="{97207EE7-C790-AC4C-BD01-54D29145596F}"/>
              </a:ext>
            </a:extLst>
          </p:cNvPr>
          <p:cNvSpPr>
            <a:spLocks noGrp="1"/>
          </p:cNvSpPr>
          <p:nvPr>
            <p:ph idx="1"/>
          </p:nvPr>
        </p:nvSpPr>
        <p:spPr>
          <a:xfrm>
            <a:off x="712380" y="1290387"/>
            <a:ext cx="10623762" cy="4755486"/>
          </a:xfrm>
          <a:prstGeom prst="rect">
            <a:avLst/>
          </a:prstGeom>
        </p:spPr>
        <p:txBody>
          <a:bodyPr/>
          <a:lstStyle>
            <a:lvl1pPr>
              <a:buClr>
                <a:schemeClr val="accent6"/>
              </a:buClr>
              <a:defRPr>
                <a:solidFill>
                  <a:schemeClr val="tx1">
                    <a:lumMod val="85000"/>
                    <a:lumOff val="15000"/>
                  </a:schemeClr>
                </a:solidFill>
                <a:latin typeface="+mj-lt"/>
              </a:defRPr>
            </a:lvl1pPr>
            <a:lvl2pPr>
              <a:buClr>
                <a:schemeClr val="accent6"/>
              </a:buClr>
              <a:defRPr>
                <a:solidFill>
                  <a:schemeClr val="tx1">
                    <a:lumMod val="85000"/>
                    <a:lumOff val="15000"/>
                  </a:schemeClr>
                </a:solidFill>
                <a:latin typeface="+mj-lt"/>
              </a:defRPr>
            </a:lvl2pPr>
            <a:lvl3pPr>
              <a:buClr>
                <a:schemeClr val="accent6"/>
              </a:buClr>
              <a:defRPr>
                <a:solidFill>
                  <a:schemeClr val="tx1">
                    <a:lumMod val="85000"/>
                    <a:lumOff val="15000"/>
                  </a:schemeClr>
                </a:solidFill>
                <a:latin typeface="+mj-lt"/>
              </a:defRPr>
            </a:lvl3pPr>
            <a:lvl4pPr>
              <a:buClr>
                <a:schemeClr val="accent6"/>
              </a:buClr>
              <a:defRPr>
                <a:solidFill>
                  <a:schemeClr val="tx1">
                    <a:lumMod val="85000"/>
                    <a:lumOff val="15000"/>
                  </a:schemeClr>
                </a:solidFill>
                <a:latin typeface="+mj-lt"/>
              </a:defRPr>
            </a:lvl4pPr>
            <a:lvl5pPr>
              <a:buClr>
                <a:schemeClr val="accent6"/>
              </a:buClr>
              <a:defRPr>
                <a:solidFill>
                  <a:schemeClr val="tx1">
                    <a:lumMod val="85000"/>
                    <a:lumOff val="15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2D0755AD-F676-3047-A2D2-7CFD9D36BB51}"/>
              </a:ext>
            </a:extLst>
          </p:cNvPr>
          <p:cNvSpPr>
            <a:spLocks noGrp="1"/>
          </p:cNvSpPr>
          <p:nvPr>
            <p:ph type="ftr" sz="quarter" idx="3"/>
          </p:nvPr>
        </p:nvSpPr>
        <p:spPr>
          <a:xfrm>
            <a:off x="3851030" y="6491866"/>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Slide Number Placeholder 5">
            <a:extLst>
              <a:ext uri="{FF2B5EF4-FFF2-40B4-BE49-F238E27FC236}">
                <a16:creationId xmlns:a16="http://schemas.microsoft.com/office/drawing/2014/main" id="{861DC1F4-AE4C-A540-8D11-FB086652F711}"/>
              </a:ext>
            </a:extLst>
          </p:cNvPr>
          <p:cNvSpPr>
            <a:spLocks noGrp="1"/>
          </p:cNvSpPr>
          <p:nvPr>
            <p:ph type="sldNum" sz="quarter" idx="4"/>
          </p:nvPr>
        </p:nvSpPr>
        <p:spPr>
          <a:xfrm>
            <a:off x="6744142" y="6492875"/>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21" name="Picture 20">
            <a:extLst>
              <a:ext uri="{FF2B5EF4-FFF2-40B4-BE49-F238E27FC236}">
                <a16:creationId xmlns:a16="http://schemas.microsoft.com/office/drawing/2014/main" id="{C2AF69F6-4BC9-7444-8C44-583B9AC48E44}"/>
              </a:ext>
            </a:extLst>
          </p:cNvPr>
          <p:cNvPicPr>
            <a:picLocks noChangeAspect="1"/>
          </p:cNvPicPr>
          <p:nvPr userDrawn="1"/>
        </p:nvPicPr>
        <p:blipFill>
          <a:blip r:embed="rId2"/>
          <a:stretch>
            <a:fillRect/>
          </a:stretch>
        </p:blipFill>
        <p:spPr>
          <a:xfrm>
            <a:off x="11210760" y="5736515"/>
            <a:ext cx="766958" cy="990385"/>
          </a:xfrm>
          <a:prstGeom prst="rect">
            <a:avLst/>
          </a:prstGeom>
          <a:ln w="19050">
            <a:solidFill>
              <a:schemeClr val="bg1"/>
            </a:solidFill>
          </a:ln>
        </p:spPr>
      </p:pic>
      <p:sp>
        <p:nvSpPr>
          <p:cNvPr id="22" name="Rectangle 21">
            <a:extLst>
              <a:ext uri="{FF2B5EF4-FFF2-40B4-BE49-F238E27FC236}">
                <a16:creationId xmlns:a16="http://schemas.microsoft.com/office/drawing/2014/main" id="{13708847-A686-E34B-B146-411C28A25638}"/>
              </a:ext>
            </a:extLst>
          </p:cNvPr>
          <p:cNvSpPr/>
          <p:nvPr userDrawn="1"/>
        </p:nvSpPr>
        <p:spPr>
          <a:xfrm>
            <a:off x="11066959" y="5960299"/>
            <a:ext cx="1063173" cy="525969"/>
          </a:xfrm>
          <a:prstGeom prst="rect">
            <a:avLst/>
          </a:prstGeom>
          <a:solidFill>
            <a:schemeClr val="accent2">
              <a:alpha val="8488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6">
            <a:extLst>
              <a:ext uri="{FF2B5EF4-FFF2-40B4-BE49-F238E27FC236}">
                <a16:creationId xmlns:a16="http://schemas.microsoft.com/office/drawing/2014/main" id="{27D00C30-24E8-F943-97C6-D4A81F18B7D0}"/>
              </a:ext>
            </a:extLst>
          </p:cNvPr>
          <p:cNvSpPr>
            <a:spLocks noGrp="1"/>
          </p:cNvSpPr>
          <p:nvPr>
            <p:ph type="body" sz="quarter" idx="10" hasCustomPrompt="1"/>
          </p:nvPr>
        </p:nvSpPr>
        <p:spPr>
          <a:xfrm>
            <a:off x="11066960" y="6182827"/>
            <a:ext cx="1054560" cy="321197"/>
          </a:xfrm>
          <a:prstGeom prst="rect">
            <a:avLst/>
          </a:prstGeom>
        </p:spPr>
        <p:txBody>
          <a:bodyPr/>
          <a:lstStyle>
            <a:lvl1pPr marL="0" indent="0" algn="ctr">
              <a:buNone/>
              <a:defRPr sz="1800" b="1"/>
            </a:lvl1pPr>
          </a:lstStyle>
          <a:p>
            <a:pPr lvl="0"/>
            <a:r>
              <a:rPr lang="en-US"/>
              <a:t>#</a:t>
            </a:r>
          </a:p>
        </p:txBody>
      </p:sp>
      <p:sp>
        <p:nvSpPr>
          <p:cNvPr id="24" name="Freeform 23">
            <a:extLst>
              <a:ext uri="{FF2B5EF4-FFF2-40B4-BE49-F238E27FC236}">
                <a16:creationId xmlns:a16="http://schemas.microsoft.com/office/drawing/2014/main" id="{D222E612-1A36-4143-8AFC-2C3E252ED80E}"/>
              </a:ext>
            </a:extLst>
          </p:cNvPr>
          <p:cNvSpPr/>
          <p:nvPr userDrawn="1"/>
        </p:nvSpPr>
        <p:spPr>
          <a:xfrm>
            <a:off x="165476"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3B2C926A-0DD1-684E-AE5E-9B72F29944B5}"/>
              </a:ext>
            </a:extLst>
          </p:cNvPr>
          <p:cNvSpPr/>
          <p:nvPr userDrawn="1"/>
        </p:nvSpPr>
        <p:spPr>
          <a:xfrm>
            <a:off x="0" y="1803"/>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rgbClr val="2A82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6" name="Picture 25" descr="Logo&#10;&#10;Description automatically generated">
            <a:extLst>
              <a:ext uri="{FF2B5EF4-FFF2-40B4-BE49-F238E27FC236}">
                <a16:creationId xmlns:a16="http://schemas.microsoft.com/office/drawing/2014/main" id="{1AEDF18C-DF70-2B42-ADE2-A29A4FBBDA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5488" y="6256523"/>
            <a:ext cx="1019318" cy="502864"/>
          </a:xfrm>
          <a:prstGeom prst="rect">
            <a:avLst/>
          </a:prstGeom>
        </p:spPr>
      </p:pic>
      <p:sp>
        <p:nvSpPr>
          <p:cNvPr id="9" name="TextBox 8">
            <a:extLst>
              <a:ext uri="{FF2B5EF4-FFF2-40B4-BE49-F238E27FC236}">
                <a16:creationId xmlns:a16="http://schemas.microsoft.com/office/drawing/2014/main" id="{3F717B55-7128-A048-A13B-D142D60C1111}"/>
              </a:ext>
            </a:extLst>
          </p:cNvPr>
          <p:cNvSpPr txBox="1"/>
          <p:nvPr userDrawn="1"/>
        </p:nvSpPr>
        <p:spPr>
          <a:xfrm>
            <a:off x="11289555" y="5901684"/>
            <a:ext cx="922482" cy="338554"/>
          </a:xfrm>
          <a:prstGeom prst="rect">
            <a:avLst/>
          </a:prstGeom>
          <a:noFill/>
        </p:spPr>
        <p:txBody>
          <a:bodyPr wrap="square" rtlCol="0">
            <a:spAutoFit/>
          </a:bodyPr>
          <a:lstStyle/>
          <a:p>
            <a:r>
              <a:rPr lang="en-US" sz="1600" b="1">
                <a:solidFill>
                  <a:schemeClr val="bg1"/>
                </a:solidFill>
              </a:rPr>
              <a:t>Page:</a:t>
            </a:r>
          </a:p>
        </p:txBody>
      </p:sp>
      <p:sp>
        <p:nvSpPr>
          <p:cNvPr id="31" name="TextBox 30">
            <a:extLst>
              <a:ext uri="{FF2B5EF4-FFF2-40B4-BE49-F238E27FC236}">
                <a16:creationId xmlns:a16="http://schemas.microsoft.com/office/drawing/2014/main" id="{727FBE17-D7BA-8F45-8892-FC40655EA53A}"/>
              </a:ext>
            </a:extLst>
          </p:cNvPr>
          <p:cNvSpPr txBox="1"/>
          <p:nvPr userDrawn="1"/>
        </p:nvSpPr>
        <p:spPr>
          <a:xfrm rot="16200000">
            <a:off x="-325540" y="314083"/>
            <a:ext cx="1101969" cy="369332"/>
          </a:xfrm>
          <a:prstGeom prst="rect">
            <a:avLst/>
          </a:prstGeom>
          <a:noFill/>
        </p:spPr>
        <p:txBody>
          <a:bodyPr wrap="square" rtlCol="0">
            <a:spAutoFit/>
          </a:bodyPr>
          <a:lstStyle/>
          <a:p>
            <a:pPr algn="ctr"/>
            <a:r>
              <a:rPr lang="en-US" sz="1800" b="0">
                <a:solidFill>
                  <a:schemeClr val="bg1"/>
                </a:solidFill>
                <a:latin typeface="+mj-lt"/>
              </a:rPr>
              <a:t>CHAPTER</a:t>
            </a:r>
          </a:p>
        </p:txBody>
      </p:sp>
      <p:pic>
        <p:nvPicPr>
          <p:cNvPr id="32" name="Picture 31">
            <a:extLst>
              <a:ext uri="{FF2B5EF4-FFF2-40B4-BE49-F238E27FC236}">
                <a16:creationId xmlns:a16="http://schemas.microsoft.com/office/drawing/2014/main" id="{8CC09A79-463F-B64A-903C-319C3BD0B6D8}"/>
              </a:ext>
            </a:extLst>
          </p:cNvPr>
          <p:cNvPicPr>
            <a:picLocks noChangeAspect="1"/>
          </p:cNvPicPr>
          <p:nvPr userDrawn="1"/>
        </p:nvPicPr>
        <p:blipFill rotWithShape="1">
          <a:blip r:embed="rId4"/>
          <a:srcRect l="9539" t="25489" r="8940" b="50000"/>
          <a:stretch/>
        </p:blipFill>
        <p:spPr>
          <a:xfrm flipH="1">
            <a:off x="162135" y="899081"/>
            <a:ext cx="723576" cy="722606"/>
          </a:xfrm>
          <a:prstGeom prst="ellipse">
            <a:avLst/>
          </a:prstGeom>
        </p:spPr>
      </p:pic>
      <p:sp>
        <p:nvSpPr>
          <p:cNvPr id="3" name="Text Placeholder 2">
            <a:extLst>
              <a:ext uri="{FF2B5EF4-FFF2-40B4-BE49-F238E27FC236}">
                <a16:creationId xmlns:a16="http://schemas.microsoft.com/office/drawing/2014/main" id="{9708A850-2E0D-1E46-8013-B48DFD6A995E}"/>
              </a:ext>
            </a:extLst>
          </p:cNvPr>
          <p:cNvSpPr>
            <a:spLocks noGrp="1"/>
          </p:cNvSpPr>
          <p:nvPr>
            <p:ph type="body" sz="quarter" idx="11" hasCustomPrompt="1"/>
          </p:nvPr>
        </p:nvSpPr>
        <p:spPr>
          <a:xfrm>
            <a:off x="523923" y="254556"/>
            <a:ext cx="577850" cy="644525"/>
          </a:xfrm>
          <a:prstGeom prst="rect">
            <a:avLst/>
          </a:prstGeom>
        </p:spPr>
        <p:txBody>
          <a:bodyPr/>
          <a:lstStyle>
            <a:lvl1pPr marL="0" indent="0" algn="ctr">
              <a:buNone/>
              <a:defRPr sz="3200" b="1"/>
            </a:lvl1pPr>
          </a:lstStyle>
          <a:p>
            <a:pPr lvl="0"/>
            <a:r>
              <a:rPr lang="en-US"/>
              <a:t>#</a:t>
            </a:r>
          </a:p>
        </p:txBody>
      </p:sp>
    </p:spTree>
    <p:extLst>
      <p:ext uri="{BB962C8B-B14F-4D97-AF65-F5344CB8AC3E}">
        <p14:creationId xmlns:p14="http://schemas.microsoft.com/office/powerpoint/2010/main" val="7195912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B505CB7-8979-7445-8887-9EEE62657A0C}"/>
              </a:ext>
            </a:extLst>
          </p:cNvPr>
          <p:cNvSpPr/>
          <p:nvPr userDrawn="1"/>
        </p:nvSpPr>
        <p:spPr>
          <a:xfrm rot="10800000">
            <a:off x="1429353" y="6330161"/>
            <a:ext cx="10762647" cy="365126"/>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EE76E7F4-D7F4-C34E-9BD8-1C047C79D016}"/>
              </a:ext>
            </a:extLst>
          </p:cNvPr>
          <p:cNvSpPr/>
          <p:nvPr userDrawn="1"/>
        </p:nvSpPr>
        <p:spPr>
          <a:xfrm>
            <a:off x="906240" y="-8602"/>
            <a:ext cx="10980960" cy="1014701"/>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0E04AF0C-681D-DA48-8100-43E62C4582F4}"/>
              </a:ext>
            </a:extLst>
          </p:cNvPr>
          <p:cNvSpPr/>
          <p:nvPr userDrawn="1"/>
        </p:nvSpPr>
        <p:spPr>
          <a:xfrm rot="10800000">
            <a:off x="10855627" y="5614327"/>
            <a:ext cx="1336373" cy="1243673"/>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89447FAB-F12A-8B42-B944-B9CE3D4B673A}"/>
              </a:ext>
            </a:extLst>
          </p:cNvPr>
          <p:cNvSpPr>
            <a:spLocks noGrp="1"/>
          </p:cNvSpPr>
          <p:nvPr>
            <p:ph type="title" hasCustomPrompt="1"/>
          </p:nvPr>
        </p:nvSpPr>
        <p:spPr>
          <a:xfrm>
            <a:off x="1491537" y="133478"/>
            <a:ext cx="9129571" cy="751350"/>
          </a:xfrm>
        </p:spPr>
        <p:txBody>
          <a:bodyPr>
            <a:normAutofit/>
          </a:bodyPr>
          <a:lstStyle>
            <a:lvl1pPr algn="l">
              <a:defRPr sz="3200" b="0">
                <a:solidFill>
                  <a:schemeClr val="bg1"/>
                </a:solidFill>
                <a:latin typeface="+mn-lt"/>
              </a:defRPr>
            </a:lvl1pPr>
          </a:lstStyle>
          <a:p>
            <a:r>
              <a:rPr lang="en-US"/>
              <a:t>Click to add header</a:t>
            </a:r>
          </a:p>
        </p:txBody>
      </p:sp>
      <p:sp>
        <p:nvSpPr>
          <p:cNvPr id="18" name="Content Placeholder 2">
            <a:extLst>
              <a:ext uri="{FF2B5EF4-FFF2-40B4-BE49-F238E27FC236}">
                <a16:creationId xmlns:a16="http://schemas.microsoft.com/office/drawing/2014/main" id="{97207EE7-C790-AC4C-BD01-54D29145596F}"/>
              </a:ext>
            </a:extLst>
          </p:cNvPr>
          <p:cNvSpPr>
            <a:spLocks noGrp="1"/>
          </p:cNvSpPr>
          <p:nvPr>
            <p:ph idx="1"/>
          </p:nvPr>
        </p:nvSpPr>
        <p:spPr>
          <a:xfrm>
            <a:off x="712380" y="1290387"/>
            <a:ext cx="10623762" cy="4755486"/>
          </a:xfrm>
          <a:prstGeom prst="rect">
            <a:avLst/>
          </a:prstGeom>
        </p:spPr>
        <p:txBody>
          <a:bodyPr/>
          <a:lstStyle>
            <a:lvl1pPr>
              <a:buClr>
                <a:schemeClr val="accent6"/>
              </a:buClr>
              <a:defRPr>
                <a:solidFill>
                  <a:schemeClr val="tx1">
                    <a:lumMod val="85000"/>
                    <a:lumOff val="15000"/>
                  </a:schemeClr>
                </a:solidFill>
                <a:latin typeface="+mj-lt"/>
              </a:defRPr>
            </a:lvl1pPr>
            <a:lvl2pPr>
              <a:buClr>
                <a:schemeClr val="accent6"/>
              </a:buClr>
              <a:defRPr>
                <a:solidFill>
                  <a:schemeClr val="tx1">
                    <a:lumMod val="85000"/>
                    <a:lumOff val="15000"/>
                  </a:schemeClr>
                </a:solidFill>
                <a:latin typeface="+mj-lt"/>
              </a:defRPr>
            </a:lvl2pPr>
            <a:lvl3pPr>
              <a:buClr>
                <a:schemeClr val="accent6"/>
              </a:buClr>
              <a:defRPr>
                <a:solidFill>
                  <a:schemeClr val="tx1">
                    <a:lumMod val="85000"/>
                    <a:lumOff val="15000"/>
                  </a:schemeClr>
                </a:solidFill>
                <a:latin typeface="+mj-lt"/>
              </a:defRPr>
            </a:lvl3pPr>
            <a:lvl4pPr>
              <a:buClr>
                <a:schemeClr val="accent6"/>
              </a:buClr>
              <a:defRPr>
                <a:solidFill>
                  <a:schemeClr val="tx1">
                    <a:lumMod val="85000"/>
                    <a:lumOff val="15000"/>
                  </a:schemeClr>
                </a:solidFill>
                <a:latin typeface="+mj-lt"/>
              </a:defRPr>
            </a:lvl4pPr>
            <a:lvl5pPr>
              <a:buClr>
                <a:schemeClr val="accent6"/>
              </a:buClr>
              <a:defRPr>
                <a:solidFill>
                  <a:schemeClr val="tx1">
                    <a:lumMod val="85000"/>
                    <a:lumOff val="15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2D0755AD-F676-3047-A2D2-7CFD9D36BB51}"/>
              </a:ext>
            </a:extLst>
          </p:cNvPr>
          <p:cNvSpPr>
            <a:spLocks noGrp="1"/>
          </p:cNvSpPr>
          <p:nvPr>
            <p:ph type="ftr" sz="quarter" idx="3"/>
          </p:nvPr>
        </p:nvSpPr>
        <p:spPr>
          <a:xfrm>
            <a:off x="3851030" y="6491866"/>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Slide Number Placeholder 5">
            <a:extLst>
              <a:ext uri="{FF2B5EF4-FFF2-40B4-BE49-F238E27FC236}">
                <a16:creationId xmlns:a16="http://schemas.microsoft.com/office/drawing/2014/main" id="{861DC1F4-AE4C-A540-8D11-FB086652F711}"/>
              </a:ext>
            </a:extLst>
          </p:cNvPr>
          <p:cNvSpPr>
            <a:spLocks noGrp="1"/>
          </p:cNvSpPr>
          <p:nvPr>
            <p:ph type="sldNum" sz="quarter" idx="4"/>
          </p:nvPr>
        </p:nvSpPr>
        <p:spPr>
          <a:xfrm>
            <a:off x="6744142" y="6492875"/>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21" name="Picture 20">
            <a:extLst>
              <a:ext uri="{FF2B5EF4-FFF2-40B4-BE49-F238E27FC236}">
                <a16:creationId xmlns:a16="http://schemas.microsoft.com/office/drawing/2014/main" id="{C2AF69F6-4BC9-7444-8C44-583B9AC48E44}"/>
              </a:ext>
            </a:extLst>
          </p:cNvPr>
          <p:cNvPicPr>
            <a:picLocks noChangeAspect="1"/>
          </p:cNvPicPr>
          <p:nvPr userDrawn="1"/>
        </p:nvPicPr>
        <p:blipFill>
          <a:blip r:embed="rId2"/>
          <a:stretch>
            <a:fillRect/>
          </a:stretch>
        </p:blipFill>
        <p:spPr>
          <a:xfrm>
            <a:off x="11210760" y="5736515"/>
            <a:ext cx="766958" cy="990385"/>
          </a:xfrm>
          <a:prstGeom prst="rect">
            <a:avLst/>
          </a:prstGeom>
          <a:ln w="19050">
            <a:solidFill>
              <a:schemeClr val="bg1"/>
            </a:solidFill>
          </a:ln>
        </p:spPr>
      </p:pic>
      <p:sp>
        <p:nvSpPr>
          <p:cNvPr id="22" name="Rectangle 21">
            <a:extLst>
              <a:ext uri="{FF2B5EF4-FFF2-40B4-BE49-F238E27FC236}">
                <a16:creationId xmlns:a16="http://schemas.microsoft.com/office/drawing/2014/main" id="{13708847-A686-E34B-B146-411C28A25638}"/>
              </a:ext>
            </a:extLst>
          </p:cNvPr>
          <p:cNvSpPr/>
          <p:nvPr userDrawn="1"/>
        </p:nvSpPr>
        <p:spPr>
          <a:xfrm>
            <a:off x="11066959" y="5960299"/>
            <a:ext cx="1063173" cy="525969"/>
          </a:xfrm>
          <a:prstGeom prst="rect">
            <a:avLst/>
          </a:prstGeom>
          <a:solidFill>
            <a:schemeClr val="accent2">
              <a:alpha val="8488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6">
            <a:extLst>
              <a:ext uri="{FF2B5EF4-FFF2-40B4-BE49-F238E27FC236}">
                <a16:creationId xmlns:a16="http://schemas.microsoft.com/office/drawing/2014/main" id="{27D00C30-24E8-F943-97C6-D4A81F18B7D0}"/>
              </a:ext>
            </a:extLst>
          </p:cNvPr>
          <p:cNvSpPr>
            <a:spLocks noGrp="1"/>
          </p:cNvSpPr>
          <p:nvPr>
            <p:ph type="body" sz="quarter" idx="10" hasCustomPrompt="1"/>
          </p:nvPr>
        </p:nvSpPr>
        <p:spPr>
          <a:xfrm>
            <a:off x="11066960" y="6182827"/>
            <a:ext cx="1054560" cy="321197"/>
          </a:xfrm>
          <a:prstGeom prst="rect">
            <a:avLst/>
          </a:prstGeom>
        </p:spPr>
        <p:txBody>
          <a:bodyPr/>
          <a:lstStyle>
            <a:lvl1pPr marL="0" indent="0" algn="ctr">
              <a:buNone/>
              <a:defRPr sz="1800" b="1"/>
            </a:lvl1pPr>
          </a:lstStyle>
          <a:p>
            <a:pPr lvl="0"/>
            <a:r>
              <a:rPr lang="en-US"/>
              <a:t>#</a:t>
            </a:r>
          </a:p>
        </p:txBody>
      </p:sp>
      <p:sp>
        <p:nvSpPr>
          <p:cNvPr id="24" name="Freeform 23">
            <a:extLst>
              <a:ext uri="{FF2B5EF4-FFF2-40B4-BE49-F238E27FC236}">
                <a16:creationId xmlns:a16="http://schemas.microsoft.com/office/drawing/2014/main" id="{D222E612-1A36-4143-8AFC-2C3E252ED80E}"/>
              </a:ext>
            </a:extLst>
          </p:cNvPr>
          <p:cNvSpPr/>
          <p:nvPr userDrawn="1"/>
        </p:nvSpPr>
        <p:spPr>
          <a:xfrm>
            <a:off x="165476"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3B2C926A-0DD1-684E-AE5E-9B72F29944B5}"/>
              </a:ext>
            </a:extLst>
          </p:cNvPr>
          <p:cNvSpPr/>
          <p:nvPr userDrawn="1"/>
        </p:nvSpPr>
        <p:spPr>
          <a:xfrm>
            <a:off x="0"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6" name="Picture 25" descr="Logo&#10;&#10;Description automatically generated">
            <a:extLst>
              <a:ext uri="{FF2B5EF4-FFF2-40B4-BE49-F238E27FC236}">
                <a16:creationId xmlns:a16="http://schemas.microsoft.com/office/drawing/2014/main" id="{1AEDF18C-DF70-2B42-ADE2-A29A4FBBDA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5488" y="6256523"/>
            <a:ext cx="1019318" cy="502864"/>
          </a:xfrm>
          <a:prstGeom prst="rect">
            <a:avLst/>
          </a:prstGeom>
        </p:spPr>
      </p:pic>
      <p:sp>
        <p:nvSpPr>
          <p:cNvPr id="9" name="TextBox 8">
            <a:extLst>
              <a:ext uri="{FF2B5EF4-FFF2-40B4-BE49-F238E27FC236}">
                <a16:creationId xmlns:a16="http://schemas.microsoft.com/office/drawing/2014/main" id="{3F717B55-7128-A048-A13B-D142D60C1111}"/>
              </a:ext>
            </a:extLst>
          </p:cNvPr>
          <p:cNvSpPr txBox="1"/>
          <p:nvPr userDrawn="1"/>
        </p:nvSpPr>
        <p:spPr>
          <a:xfrm>
            <a:off x="11289555" y="5901684"/>
            <a:ext cx="922482" cy="338554"/>
          </a:xfrm>
          <a:prstGeom prst="rect">
            <a:avLst/>
          </a:prstGeom>
          <a:noFill/>
        </p:spPr>
        <p:txBody>
          <a:bodyPr wrap="square" rtlCol="0">
            <a:spAutoFit/>
          </a:bodyPr>
          <a:lstStyle/>
          <a:p>
            <a:r>
              <a:rPr lang="en-US" sz="1600" b="1">
                <a:solidFill>
                  <a:schemeClr val="bg1"/>
                </a:solidFill>
              </a:rPr>
              <a:t>Page:</a:t>
            </a:r>
          </a:p>
        </p:txBody>
      </p:sp>
      <p:pic>
        <p:nvPicPr>
          <p:cNvPr id="28" name="Picture 27">
            <a:extLst>
              <a:ext uri="{FF2B5EF4-FFF2-40B4-BE49-F238E27FC236}">
                <a16:creationId xmlns:a16="http://schemas.microsoft.com/office/drawing/2014/main" id="{CB716C01-B2BF-F74F-86A4-5D90694CCF73}"/>
              </a:ext>
            </a:extLst>
          </p:cNvPr>
          <p:cNvPicPr>
            <a:picLocks noChangeAspect="1"/>
          </p:cNvPicPr>
          <p:nvPr userDrawn="1"/>
        </p:nvPicPr>
        <p:blipFill rotWithShape="1">
          <a:blip r:embed="rId4"/>
          <a:srcRect l="9486" t="1179" r="8994" b="74310"/>
          <a:stretch/>
        </p:blipFill>
        <p:spPr>
          <a:xfrm flipH="1">
            <a:off x="225444" y="812127"/>
            <a:ext cx="723576" cy="722606"/>
          </a:xfrm>
          <a:prstGeom prst="ellipse">
            <a:avLst/>
          </a:prstGeom>
        </p:spPr>
      </p:pic>
      <p:sp>
        <p:nvSpPr>
          <p:cNvPr id="27" name="TextBox 26">
            <a:extLst>
              <a:ext uri="{FF2B5EF4-FFF2-40B4-BE49-F238E27FC236}">
                <a16:creationId xmlns:a16="http://schemas.microsoft.com/office/drawing/2014/main" id="{C0D39A89-F56C-7A46-97D3-CE47A2721814}"/>
              </a:ext>
            </a:extLst>
          </p:cNvPr>
          <p:cNvSpPr txBox="1"/>
          <p:nvPr userDrawn="1"/>
        </p:nvSpPr>
        <p:spPr>
          <a:xfrm rot="16200000">
            <a:off x="-325540" y="314083"/>
            <a:ext cx="1101969" cy="369332"/>
          </a:xfrm>
          <a:prstGeom prst="rect">
            <a:avLst/>
          </a:prstGeom>
          <a:noFill/>
        </p:spPr>
        <p:txBody>
          <a:bodyPr wrap="square" rtlCol="0">
            <a:spAutoFit/>
          </a:bodyPr>
          <a:lstStyle/>
          <a:p>
            <a:pPr algn="ctr"/>
            <a:r>
              <a:rPr lang="en-US" sz="1800" b="0">
                <a:solidFill>
                  <a:schemeClr val="bg1"/>
                </a:solidFill>
                <a:latin typeface="+mj-lt"/>
              </a:rPr>
              <a:t>CHAPTER</a:t>
            </a:r>
          </a:p>
        </p:txBody>
      </p:sp>
      <p:sp>
        <p:nvSpPr>
          <p:cNvPr id="29" name="Text Placeholder 2">
            <a:extLst>
              <a:ext uri="{FF2B5EF4-FFF2-40B4-BE49-F238E27FC236}">
                <a16:creationId xmlns:a16="http://schemas.microsoft.com/office/drawing/2014/main" id="{E1D024BF-FF7A-D145-805D-E0FBD0D67EEF}"/>
              </a:ext>
            </a:extLst>
          </p:cNvPr>
          <p:cNvSpPr>
            <a:spLocks noGrp="1"/>
          </p:cNvSpPr>
          <p:nvPr>
            <p:ph type="body" sz="quarter" idx="11" hasCustomPrompt="1"/>
          </p:nvPr>
        </p:nvSpPr>
        <p:spPr>
          <a:xfrm>
            <a:off x="523923" y="254556"/>
            <a:ext cx="577850" cy="644525"/>
          </a:xfrm>
          <a:prstGeom prst="rect">
            <a:avLst/>
          </a:prstGeom>
        </p:spPr>
        <p:txBody>
          <a:bodyPr/>
          <a:lstStyle>
            <a:lvl1pPr marL="0" indent="0" algn="ctr">
              <a:buNone/>
              <a:defRPr sz="3200" b="1"/>
            </a:lvl1pPr>
          </a:lstStyle>
          <a:p>
            <a:pPr lvl="0"/>
            <a:r>
              <a:rPr lang="en-US"/>
              <a:t>#</a:t>
            </a:r>
          </a:p>
        </p:txBody>
      </p:sp>
    </p:spTree>
    <p:extLst>
      <p:ext uri="{BB962C8B-B14F-4D97-AF65-F5344CB8AC3E}">
        <p14:creationId xmlns:p14="http://schemas.microsoft.com/office/powerpoint/2010/main" val="185512315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B505CB7-8979-7445-8887-9EEE62657A0C}"/>
              </a:ext>
            </a:extLst>
          </p:cNvPr>
          <p:cNvSpPr/>
          <p:nvPr userDrawn="1"/>
        </p:nvSpPr>
        <p:spPr>
          <a:xfrm rot="10800000">
            <a:off x="1429353" y="6330161"/>
            <a:ext cx="10762647" cy="365126"/>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EE76E7F4-D7F4-C34E-9BD8-1C047C79D016}"/>
              </a:ext>
            </a:extLst>
          </p:cNvPr>
          <p:cNvSpPr/>
          <p:nvPr userDrawn="1"/>
        </p:nvSpPr>
        <p:spPr>
          <a:xfrm>
            <a:off x="906240" y="-8602"/>
            <a:ext cx="10980960" cy="1014701"/>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89447FAB-F12A-8B42-B944-B9CE3D4B673A}"/>
              </a:ext>
            </a:extLst>
          </p:cNvPr>
          <p:cNvSpPr>
            <a:spLocks noGrp="1"/>
          </p:cNvSpPr>
          <p:nvPr>
            <p:ph type="title" hasCustomPrompt="1"/>
          </p:nvPr>
        </p:nvSpPr>
        <p:spPr>
          <a:xfrm>
            <a:off x="1491537" y="133478"/>
            <a:ext cx="9129571" cy="751350"/>
          </a:xfrm>
        </p:spPr>
        <p:txBody>
          <a:bodyPr>
            <a:normAutofit/>
          </a:bodyPr>
          <a:lstStyle>
            <a:lvl1pPr algn="l">
              <a:defRPr sz="3200" b="0">
                <a:solidFill>
                  <a:schemeClr val="bg1"/>
                </a:solidFill>
                <a:latin typeface="+mn-lt"/>
              </a:defRPr>
            </a:lvl1pPr>
          </a:lstStyle>
          <a:p>
            <a:r>
              <a:rPr lang="en-US"/>
              <a:t>Click to add header</a:t>
            </a:r>
          </a:p>
        </p:txBody>
      </p:sp>
      <p:sp>
        <p:nvSpPr>
          <p:cNvPr id="18" name="Content Placeholder 2">
            <a:extLst>
              <a:ext uri="{FF2B5EF4-FFF2-40B4-BE49-F238E27FC236}">
                <a16:creationId xmlns:a16="http://schemas.microsoft.com/office/drawing/2014/main" id="{97207EE7-C790-AC4C-BD01-54D29145596F}"/>
              </a:ext>
            </a:extLst>
          </p:cNvPr>
          <p:cNvSpPr>
            <a:spLocks noGrp="1"/>
          </p:cNvSpPr>
          <p:nvPr>
            <p:ph idx="1"/>
          </p:nvPr>
        </p:nvSpPr>
        <p:spPr>
          <a:xfrm>
            <a:off x="712380" y="1290387"/>
            <a:ext cx="10623762" cy="4755486"/>
          </a:xfrm>
          <a:prstGeom prst="rect">
            <a:avLst/>
          </a:prstGeom>
        </p:spPr>
        <p:txBody>
          <a:bodyPr/>
          <a:lstStyle>
            <a:lvl1pPr>
              <a:buClr>
                <a:schemeClr val="accent6"/>
              </a:buClr>
              <a:defRPr>
                <a:solidFill>
                  <a:schemeClr val="tx1">
                    <a:lumMod val="85000"/>
                    <a:lumOff val="15000"/>
                  </a:schemeClr>
                </a:solidFill>
                <a:latin typeface="+mj-lt"/>
              </a:defRPr>
            </a:lvl1pPr>
            <a:lvl2pPr>
              <a:buClr>
                <a:schemeClr val="accent6"/>
              </a:buClr>
              <a:defRPr>
                <a:solidFill>
                  <a:schemeClr val="tx1">
                    <a:lumMod val="85000"/>
                    <a:lumOff val="15000"/>
                  </a:schemeClr>
                </a:solidFill>
                <a:latin typeface="+mj-lt"/>
              </a:defRPr>
            </a:lvl2pPr>
            <a:lvl3pPr>
              <a:buClr>
                <a:schemeClr val="accent6"/>
              </a:buClr>
              <a:defRPr>
                <a:solidFill>
                  <a:schemeClr val="tx1">
                    <a:lumMod val="85000"/>
                    <a:lumOff val="15000"/>
                  </a:schemeClr>
                </a:solidFill>
                <a:latin typeface="+mj-lt"/>
              </a:defRPr>
            </a:lvl3pPr>
            <a:lvl4pPr>
              <a:buClr>
                <a:schemeClr val="accent6"/>
              </a:buClr>
              <a:defRPr>
                <a:solidFill>
                  <a:schemeClr val="tx1">
                    <a:lumMod val="85000"/>
                    <a:lumOff val="15000"/>
                  </a:schemeClr>
                </a:solidFill>
                <a:latin typeface="+mj-lt"/>
              </a:defRPr>
            </a:lvl4pPr>
            <a:lvl5pPr>
              <a:buClr>
                <a:schemeClr val="accent6"/>
              </a:buClr>
              <a:defRPr>
                <a:solidFill>
                  <a:schemeClr val="tx1">
                    <a:lumMod val="85000"/>
                    <a:lumOff val="15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2D0755AD-F676-3047-A2D2-7CFD9D36BB51}"/>
              </a:ext>
            </a:extLst>
          </p:cNvPr>
          <p:cNvSpPr>
            <a:spLocks noGrp="1"/>
          </p:cNvSpPr>
          <p:nvPr>
            <p:ph type="ftr" sz="quarter" idx="3"/>
          </p:nvPr>
        </p:nvSpPr>
        <p:spPr>
          <a:xfrm>
            <a:off x="3851030" y="6491866"/>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Slide Number Placeholder 5">
            <a:extLst>
              <a:ext uri="{FF2B5EF4-FFF2-40B4-BE49-F238E27FC236}">
                <a16:creationId xmlns:a16="http://schemas.microsoft.com/office/drawing/2014/main" id="{861DC1F4-AE4C-A540-8D11-FB086652F711}"/>
              </a:ext>
            </a:extLst>
          </p:cNvPr>
          <p:cNvSpPr>
            <a:spLocks noGrp="1"/>
          </p:cNvSpPr>
          <p:nvPr>
            <p:ph type="sldNum" sz="quarter" idx="4"/>
          </p:nvPr>
        </p:nvSpPr>
        <p:spPr>
          <a:xfrm>
            <a:off x="6744142" y="6492875"/>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4" name="Freeform 23">
            <a:extLst>
              <a:ext uri="{FF2B5EF4-FFF2-40B4-BE49-F238E27FC236}">
                <a16:creationId xmlns:a16="http://schemas.microsoft.com/office/drawing/2014/main" id="{D222E612-1A36-4143-8AFC-2C3E252ED80E}"/>
              </a:ext>
            </a:extLst>
          </p:cNvPr>
          <p:cNvSpPr/>
          <p:nvPr userDrawn="1"/>
        </p:nvSpPr>
        <p:spPr>
          <a:xfrm>
            <a:off x="165476"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3B2C926A-0DD1-684E-AE5E-9B72F29944B5}"/>
              </a:ext>
            </a:extLst>
          </p:cNvPr>
          <p:cNvSpPr/>
          <p:nvPr userDrawn="1"/>
        </p:nvSpPr>
        <p:spPr>
          <a:xfrm>
            <a:off x="0"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6" name="Picture 25" descr="Logo&#10;&#10;Description automatically generated">
            <a:extLst>
              <a:ext uri="{FF2B5EF4-FFF2-40B4-BE49-F238E27FC236}">
                <a16:creationId xmlns:a16="http://schemas.microsoft.com/office/drawing/2014/main" id="{1AEDF18C-DF70-2B42-ADE2-A29A4FBBDA5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5488" y="6256523"/>
            <a:ext cx="1019318" cy="502864"/>
          </a:xfrm>
          <a:prstGeom prst="rect">
            <a:avLst/>
          </a:prstGeom>
        </p:spPr>
      </p:pic>
      <p:pic>
        <p:nvPicPr>
          <p:cNvPr id="28" name="Picture 27">
            <a:extLst>
              <a:ext uri="{FF2B5EF4-FFF2-40B4-BE49-F238E27FC236}">
                <a16:creationId xmlns:a16="http://schemas.microsoft.com/office/drawing/2014/main" id="{CB716C01-B2BF-F74F-86A4-5D90694CCF73}"/>
              </a:ext>
            </a:extLst>
          </p:cNvPr>
          <p:cNvPicPr>
            <a:picLocks noChangeAspect="1"/>
          </p:cNvPicPr>
          <p:nvPr userDrawn="1"/>
        </p:nvPicPr>
        <p:blipFill rotWithShape="1">
          <a:blip r:embed="rId3"/>
          <a:srcRect l="9486" t="1179" r="8994" b="74310"/>
          <a:stretch/>
        </p:blipFill>
        <p:spPr>
          <a:xfrm flipH="1">
            <a:off x="225444" y="812127"/>
            <a:ext cx="723576" cy="722606"/>
          </a:xfrm>
          <a:prstGeom prst="ellipse">
            <a:avLst/>
          </a:prstGeom>
        </p:spPr>
      </p:pic>
    </p:spTree>
    <p:extLst>
      <p:ext uri="{BB962C8B-B14F-4D97-AF65-F5344CB8AC3E}">
        <p14:creationId xmlns:p14="http://schemas.microsoft.com/office/powerpoint/2010/main" val="26911294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B505CB7-8979-7445-8887-9EEE62657A0C}"/>
              </a:ext>
            </a:extLst>
          </p:cNvPr>
          <p:cNvSpPr/>
          <p:nvPr userDrawn="1"/>
        </p:nvSpPr>
        <p:spPr>
          <a:xfrm rot="10800000">
            <a:off x="1429353" y="6330161"/>
            <a:ext cx="10762647" cy="365126"/>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EE76E7F4-D7F4-C34E-9BD8-1C047C79D016}"/>
              </a:ext>
            </a:extLst>
          </p:cNvPr>
          <p:cNvSpPr/>
          <p:nvPr userDrawn="1"/>
        </p:nvSpPr>
        <p:spPr>
          <a:xfrm>
            <a:off x="906240" y="-8602"/>
            <a:ext cx="10980960" cy="1014701"/>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0E04AF0C-681D-DA48-8100-43E62C4582F4}"/>
              </a:ext>
            </a:extLst>
          </p:cNvPr>
          <p:cNvSpPr/>
          <p:nvPr userDrawn="1"/>
        </p:nvSpPr>
        <p:spPr>
          <a:xfrm rot="10800000">
            <a:off x="10855627" y="5614327"/>
            <a:ext cx="1336373" cy="1243673"/>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89447FAB-F12A-8B42-B944-B9CE3D4B673A}"/>
              </a:ext>
            </a:extLst>
          </p:cNvPr>
          <p:cNvSpPr>
            <a:spLocks noGrp="1"/>
          </p:cNvSpPr>
          <p:nvPr>
            <p:ph type="title" hasCustomPrompt="1"/>
          </p:nvPr>
        </p:nvSpPr>
        <p:spPr>
          <a:xfrm>
            <a:off x="1491537" y="133478"/>
            <a:ext cx="9129571" cy="751350"/>
          </a:xfrm>
        </p:spPr>
        <p:txBody>
          <a:bodyPr>
            <a:normAutofit/>
          </a:bodyPr>
          <a:lstStyle>
            <a:lvl1pPr algn="l">
              <a:defRPr sz="3200" b="0">
                <a:solidFill>
                  <a:schemeClr val="bg1"/>
                </a:solidFill>
                <a:latin typeface="+mn-lt"/>
              </a:defRPr>
            </a:lvl1pPr>
          </a:lstStyle>
          <a:p>
            <a:r>
              <a:rPr lang="en-US"/>
              <a:t>Click to add header</a:t>
            </a:r>
          </a:p>
        </p:txBody>
      </p:sp>
      <p:sp>
        <p:nvSpPr>
          <p:cNvPr id="18" name="Content Placeholder 2">
            <a:extLst>
              <a:ext uri="{FF2B5EF4-FFF2-40B4-BE49-F238E27FC236}">
                <a16:creationId xmlns:a16="http://schemas.microsoft.com/office/drawing/2014/main" id="{97207EE7-C790-AC4C-BD01-54D29145596F}"/>
              </a:ext>
            </a:extLst>
          </p:cNvPr>
          <p:cNvSpPr>
            <a:spLocks noGrp="1"/>
          </p:cNvSpPr>
          <p:nvPr>
            <p:ph idx="1"/>
          </p:nvPr>
        </p:nvSpPr>
        <p:spPr>
          <a:xfrm>
            <a:off x="712380" y="1290387"/>
            <a:ext cx="10623762" cy="4755486"/>
          </a:xfrm>
          <a:prstGeom prst="rect">
            <a:avLst/>
          </a:prstGeom>
        </p:spPr>
        <p:txBody>
          <a:bodyPr/>
          <a:lstStyle>
            <a:lvl1pPr>
              <a:buClr>
                <a:schemeClr val="accent6"/>
              </a:buClr>
              <a:defRPr>
                <a:solidFill>
                  <a:schemeClr val="tx1">
                    <a:lumMod val="85000"/>
                    <a:lumOff val="15000"/>
                  </a:schemeClr>
                </a:solidFill>
                <a:latin typeface="+mj-lt"/>
              </a:defRPr>
            </a:lvl1pPr>
            <a:lvl2pPr>
              <a:buClr>
                <a:schemeClr val="accent6"/>
              </a:buClr>
              <a:defRPr>
                <a:solidFill>
                  <a:schemeClr val="tx1">
                    <a:lumMod val="85000"/>
                    <a:lumOff val="15000"/>
                  </a:schemeClr>
                </a:solidFill>
                <a:latin typeface="+mj-lt"/>
              </a:defRPr>
            </a:lvl2pPr>
            <a:lvl3pPr>
              <a:buClr>
                <a:schemeClr val="accent6"/>
              </a:buClr>
              <a:defRPr>
                <a:solidFill>
                  <a:schemeClr val="tx1">
                    <a:lumMod val="85000"/>
                    <a:lumOff val="15000"/>
                  </a:schemeClr>
                </a:solidFill>
                <a:latin typeface="+mj-lt"/>
              </a:defRPr>
            </a:lvl3pPr>
            <a:lvl4pPr>
              <a:buClr>
                <a:schemeClr val="accent6"/>
              </a:buClr>
              <a:defRPr>
                <a:solidFill>
                  <a:schemeClr val="tx1">
                    <a:lumMod val="85000"/>
                    <a:lumOff val="15000"/>
                  </a:schemeClr>
                </a:solidFill>
                <a:latin typeface="+mj-lt"/>
              </a:defRPr>
            </a:lvl4pPr>
            <a:lvl5pPr>
              <a:buClr>
                <a:schemeClr val="accent6"/>
              </a:buClr>
              <a:defRPr>
                <a:solidFill>
                  <a:schemeClr val="tx1">
                    <a:lumMod val="85000"/>
                    <a:lumOff val="15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2D0755AD-F676-3047-A2D2-7CFD9D36BB51}"/>
              </a:ext>
            </a:extLst>
          </p:cNvPr>
          <p:cNvSpPr>
            <a:spLocks noGrp="1"/>
          </p:cNvSpPr>
          <p:nvPr>
            <p:ph type="ftr" sz="quarter" idx="3"/>
          </p:nvPr>
        </p:nvSpPr>
        <p:spPr>
          <a:xfrm>
            <a:off x="3851030" y="6491866"/>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Slide Number Placeholder 5">
            <a:extLst>
              <a:ext uri="{FF2B5EF4-FFF2-40B4-BE49-F238E27FC236}">
                <a16:creationId xmlns:a16="http://schemas.microsoft.com/office/drawing/2014/main" id="{861DC1F4-AE4C-A540-8D11-FB086652F711}"/>
              </a:ext>
            </a:extLst>
          </p:cNvPr>
          <p:cNvSpPr>
            <a:spLocks noGrp="1"/>
          </p:cNvSpPr>
          <p:nvPr>
            <p:ph type="sldNum" sz="quarter" idx="4"/>
          </p:nvPr>
        </p:nvSpPr>
        <p:spPr>
          <a:xfrm>
            <a:off x="6744142" y="6492875"/>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21" name="Picture 20">
            <a:extLst>
              <a:ext uri="{FF2B5EF4-FFF2-40B4-BE49-F238E27FC236}">
                <a16:creationId xmlns:a16="http://schemas.microsoft.com/office/drawing/2014/main" id="{C2AF69F6-4BC9-7444-8C44-583B9AC48E44}"/>
              </a:ext>
            </a:extLst>
          </p:cNvPr>
          <p:cNvPicPr>
            <a:picLocks noChangeAspect="1"/>
          </p:cNvPicPr>
          <p:nvPr userDrawn="1"/>
        </p:nvPicPr>
        <p:blipFill>
          <a:blip r:embed="rId2"/>
          <a:stretch>
            <a:fillRect/>
          </a:stretch>
        </p:blipFill>
        <p:spPr>
          <a:xfrm>
            <a:off x="11210760" y="5736515"/>
            <a:ext cx="766958" cy="990385"/>
          </a:xfrm>
          <a:prstGeom prst="rect">
            <a:avLst/>
          </a:prstGeom>
          <a:ln w="19050">
            <a:solidFill>
              <a:schemeClr val="bg1"/>
            </a:solidFill>
          </a:ln>
        </p:spPr>
      </p:pic>
      <p:sp>
        <p:nvSpPr>
          <p:cNvPr id="22" name="Rectangle 21">
            <a:extLst>
              <a:ext uri="{FF2B5EF4-FFF2-40B4-BE49-F238E27FC236}">
                <a16:creationId xmlns:a16="http://schemas.microsoft.com/office/drawing/2014/main" id="{13708847-A686-E34B-B146-411C28A25638}"/>
              </a:ext>
            </a:extLst>
          </p:cNvPr>
          <p:cNvSpPr/>
          <p:nvPr userDrawn="1"/>
        </p:nvSpPr>
        <p:spPr>
          <a:xfrm>
            <a:off x="11066959" y="5960299"/>
            <a:ext cx="1063173" cy="525969"/>
          </a:xfrm>
          <a:prstGeom prst="rect">
            <a:avLst/>
          </a:prstGeom>
          <a:solidFill>
            <a:schemeClr val="accent2">
              <a:alpha val="8488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6">
            <a:extLst>
              <a:ext uri="{FF2B5EF4-FFF2-40B4-BE49-F238E27FC236}">
                <a16:creationId xmlns:a16="http://schemas.microsoft.com/office/drawing/2014/main" id="{27D00C30-24E8-F943-97C6-D4A81F18B7D0}"/>
              </a:ext>
            </a:extLst>
          </p:cNvPr>
          <p:cNvSpPr>
            <a:spLocks noGrp="1"/>
          </p:cNvSpPr>
          <p:nvPr>
            <p:ph type="body" sz="quarter" idx="10" hasCustomPrompt="1"/>
          </p:nvPr>
        </p:nvSpPr>
        <p:spPr>
          <a:xfrm>
            <a:off x="11066960" y="6182827"/>
            <a:ext cx="1054560" cy="321197"/>
          </a:xfrm>
          <a:prstGeom prst="rect">
            <a:avLst/>
          </a:prstGeom>
        </p:spPr>
        <p:txBody>
          <a:bodyPr/>
          <a:lstStyle>
            <a:lvl1pPr marL="0" indent="0" algn="ctr">
              <a:buNone/>
              <a:defRPr sz="1800" b="1"/>
            </a:lvl1pPr>
          </a:lstStyle>
          <a:p>
            <a:pPr lvl="0"/>
            <a:r>
              <a:rPr lang="en-US"/>
              <a:t>#</a:t>
            </a:r>
          </a:p>
        </p:txBody>
      </p:sp>
      <p:sp>
        <p:nvSpPr>
          <p:cNvPr id="24" name="Freeform 23">
            <a:extLst>
              <a:ext uri="{FF2B5EF4-FFF2-40B4-BE49-F238E27FC236}">
                <a16:creationId xmlns:a16="http://schemas.microsoft.com/office/drawing/2014/main" id="{D222E612-1A36-4143-8AFC-2C3E252ED80E}"/>
              </a:ext>
            </a:extLst>
          </p:cNvPr>
          <p:cNvSpPr/>
          <p:nvPr userDrawn="1"/>
        </p:nvSpPr>
        <p:spPr>
          <a:xfrm>
            <a:off x="165476"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3B2C926A-0DD1-684E-AE5E-9B72F29944B5}"/>
              </a:ext>
            </a:extLst>
          </p:cNvPr>
          <p:cNvSpPr/>
          <p:nvPr userDrawn="1"/>
        </p:nvSpPr>
        <p:spPr>
          <a:xfrm>
            <a:off x="0" y="0"/>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6" name="Picture 25" descr="Logo&#10;&#10;Description automatically generated">
            <a:extLst>
              <a:ext uri="{FF2B5EF4-FFF2-40B4-BE49-F238E27FC236}">
                <a16:creationId xmlns:a16="http://schemas.microsoft.com/office/drawing/2014/main" id="{1AEDF18C-DF70-2B42-ADE2-A29A4FBBDA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5488" y="6256523"/>
            <a:ext cx="1019318" cy="502864"/>
          </a:xfrm>
          <a:prstGeom prst="rect">
            <a:avLst/>
          </a:prstGeom>
        </p:spPr>
      </p:pic>
      <p:sp>
        <p:nvSpPr>
          <p:cNvPr id="9" name="TextBox 8">
            <a:extLst>
              <a:ext uri="{FF2B5EF4-FFF2-40B4-BE49-F238E27FC236}">
                <a16:creationId xmlns:a16="http://schemas.microsoft.com/office/drawing/2014/main" id="{3F717B55-7128-A048-A13B-D142D60C1111}"/>
              </a:ext>
            </a:extLst>
          </p:cNvPr>
          <p:cNvSpPr txBox="1"/>
          <p:nvPr userDrawn="1"/>
        </p:nvSpPr>
        <p:spPr>
          <a:xfrm>
            <a:off x="11289555" y="5901684"/>
            <a:ext cx="922482" cy="338554"/>
          </a:xfrm>
          <a:prstGeom prst="rect">
            <a:avLst/>
          </a:prstGeom>
          <a:noFill/>
        </p:spPr>
        <p:txBody>
          <a:bodyPr wrap="square" rtlCol="0">
            <a:spAutoFit/>
          </a:bodyPr>
          <a:lstStyle/>
          <a:p>
            <a:r>
              <a:rPr lang="en-US" sz="1600" b="1">
                <a:solidFill>
                  <a:schemeClr val="bg1"/>
                </a:solidFill>
              </a:rPr>
              <a:t>Page:</a:t>
            </a:r>
          </a:p>
        </p:txBody>
      </p:sp>
      <p:pic>
        <p:nvPicPr>
          <p:cNvPr id="28" name="Picture 27">
            <a:extLst>
              <a:ext uri="{FF2B5EF4-FFF2-40B4-BE49-F238E27FC236}">
                <a16:creationId xmlns:a16="http://schemas.microsoft.com/office/drawing/2014/main" id="{CB716C01-B2BF-F74F-86A4-5D90694CCF73}"/>
              </a:ext>
            </a:extLst>
          </p:cNvPr>
          <p:cNvPicPr>
            <a:picLocks noChangeAspect="1"/>
          </p:cNvPicPr>
          <p:nvPr userDrawn="1"/>
        </p:nvPicPr>
        <p:blipFill rotWithShape="1">
          <a:blip r:embed="rId4"/>
          <a:srcRect l="10503" t="49426" r="7977" b="26063"/>
          <a:stretch/>
        </p:blipFill>
        <p:spPr>
          <a:xfrm flipH="1">
            <a:off x="236978" y="822066"/>
            <a:ext cx="723576" cy="722606"/>
          </a:xfrm>
          <a:prstGeom prst="ellipse">
            <a:avLst/>
          </a:prstGeom>
        </p:spPr>
      </p:pic>
      <p:sp>
        <p:nvSpPr>
          <p:cNvPr id="27" name="TextBox 26">
            <a:extLst>
              <a:ext uri="{FF2B5EF4-FFF2-40B4-BE49-F238E27FC236}">
                <a16:creationId xmlns:a16="http://schemas.microsoft.com/office/drawing/2014/main" id="{417DAC87-49D0-164F-A2BF-DB35EE7AE3C9}"/>
              </a:ext>
            </a:extLst>
          </p:cNvPr>
          <p:cNvSpPr txBox="1"/>
          <p:nvPr userDrawn="1"/>
        </p:nvSpPr>
        <p:spPr>
          <a:xfrm rot="16200000">
            <a:off x="-325540" y="314083"/>
            <a:ext cx="1101969" cy="369332"/>
          </a:xfrm>
          <a:prstGeom prst="rect">
            <a:avLst/>
          </a:prstGeom>
          <a:noFill/>
        </p:spPr>
        <p:txBody>
          <a:bodyPr wrap="square" rtlCol="0">
            <a:spAutoFit/>
          </a:bodyPr>
          <a:lstStyle/>
          <a:p>
            <a:pPr algn="ctr"/>
            <a:r>
              <a:rPr lang="en-US" sz="1800" b="0">
                <a:solidFill>
                  <a:schemeClr val="bg1"/>
                </a:solidFill>
                <a:latin typeface="+mj-lt"/>
              </a:rPr>
              <a:t>CHAPTER</a:t>
            </a:r>
          </a:p>
        </p:txBody>
      </p:sp>
      <p:sp>
        <p:nvSpPr>
          <p:cNvPr id="29" name="Text Placeholder 2">
            <a:extLst>
              <a:ext uri="{FF2B5EF4-FFF2-40B4-BE49-F238E27FC236}">
                <a16:creationId xmlns:a16="http://schemas.microsoft.com/office/drawing/2014/main" id="{FEBD4AF3-63DF-9244-9F66-D8E3CF2B4FC7}"/>
              </a:ext>
            </a:extLst>
          </p:cNvPr>
          <p:cNvSpPr>
            <a:spLocks noGrp="1"/>
          </p:cNvSpPr>
          <p:nvPr>
            <p:ph type="body" sz="quarter" idx="11" hasCustomPrompt="1"/>
          </p:nvPr>
        </p:nvSpPr>
        <p:spPr>
          <a:xfrm>
            <a:off x="523923" y="254556"/>
            <a:ext cx="577850" cy="644525"/>
          </a:xfrm>
          <a:prstGeom prst="rect">
            <a:avLst/>
          </a:prstGeom>
        </p:spPr>
        <p:txBody>
          <a:bodyPr/>
          <a:lstStyle>
            <a:lvl1pPr marL="0" indent="0" algn="ctr">
              <a:buNone/>
              <a:defRPr sz="3200" b="1"/>
            </a:lvl1pPr>
          </a:lstStyle>
          <a:p>
            <a:pPr lvl="0"/>
            <a:r>
              <a:rPr lang="en-US"/>
              <a:t>#</a:t>
            </a:r>
          </a:p>
        </p:txBody>
      </p:sp>
    </p:spTree>
    <p:extLst>
      <p:ext uri="{BB962C8B-B14F-4D97-AF65-F5344CB8AC3E}">
        <p14:creationId xmlns:p14="http://schemas.microsoft.com/office/powerpoint/2010/main" val="137796463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B505CB7-8979-7445-8887-9EEE62657A0C}"/>
              </a:ext>
            </a:extLst>
          </p:cNvPr>
          <p:cNvSpPr/>
          <p:nvPr userDrawn="1"/>
        </p:nvSpPr>
        <p:spPr>
          <a:xfrm rot="10800000">
            <a:off x="1429353" y="6330161"/>
            <a:ext cx="10762647" cy="365126"/>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EE76E7F4-D7F4-C34E-9BD8-1C047C79D016}"/>
              </a:ext>
            </a:extLst>
          </p:cNvPr>
          <p:cNvSpPr/>
          <p:nvPr userDrawn="1"/>
        </p:nvSpPr>
        <p:spPr>
          <a:xfrm>
            <a:off x="906240" y="-8602"/>
            <a:ext cx="10980960" cy="1014701"/>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0E04AF0C-681D-DA48-8100-43E62C4582F4}"/>
              </a:ext>
            </a:extLst>
          </p:cNvPr>
          <p:cNvSpPr/>
          <p:nvPr userDrawn="1"/>
        </p:nvSpPr>
        <p:spPr>
          <a:xfrm rot="10800000">
            <a:off x="10855627" y="5614327"/>
            <a:ext cx="1336373" cy="1243673"/>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89447FAB-F12A-8B42-B944-B9CE3D4B673A}"/>
              </a:ext>
            </a:extLst>
          </p:cNvPr>
          <p:cNvSpPr>
            <a:spLocks noGrp="1"/>
          </p:cNvSpPr>
          <p:nvPr>
            <p:ph type="title" hasCustomPrompt="1"/>
          </p:nvPr>
        </p:nvSpPr>
        <p:spPr>
          <a:xfrm>
            <a:off x="1491537" y="133478"/>
            <a:ext cx="9129571" cy="751350"/>
          </a:xfrm>
        </p:spPr>
        <p:txBody>
          <a:bodyPr>
            <a:normAutofit/>
          </a:bodyPr>
          <a:lstStyle>
            <a:lvl1pPr algn="l">
              <a:defRPr sz="3200" b="0">
                <a:solidFill>
                  <a:schemeClr val="bg1"/>
                </a:solidFill>
                <a:latin typeface="+mn-lt"/>
              </a:defRPr>
            </a:lvl1pPr>
          </a:lstStyle>
          <a:p>
            <a:r>
              <a:rPr lang="en-US"/>
              <a:t>Click to add header</a:t>
            </a:r>
          </a:p>
        </p:txBody>
      </p:sp>
      <p:sp>
        <p:nvSpPr>
          <p:cNvPr id="18" name="Content Placeholder 2">
            <a:extLst>
              <a:ext uri="{FF2B5EF4-FFF2-40B4-BE49-F238E27FC236}">
                <a16:creationId xmlns:a16="http://schemas.microsoft.com/office/drawing/2014/main" id="{97207EE7-C790-AC4C-BD01-54D29145596F}"/>
              </a:ext>
            </a:extLst>
          </p:cNvPr>
          <p:cNvSpPr>
            <a:spLocks noGrp="1"/>
          </p:cNvSpPr>
          <p:nvPr>
            <p:ph idx="1"/>
          </p:nvPr>
        </p:nvSpPr>
        <p:spPr>
          <a:xfrm>
            <a:off x="712380" y="1290387"/>
            <a:ext cx="10623762" cy="4755486"/>
          </a:xfrm>
          <a:prstGeom prst="rect">
            <a:avLst/>
          </a:prstGeom>
        </p:spPr>
        <p:txBody>
          <a:bodyPr/>
          <a:lstStyle>
            <a:lvl1pPr>
              <a:buClr>
                <a:schemeClr val="accent6"/>
              </a:buClr>
              <a:defRPr>
                <a:solidFill>
                  <a:schemeClr val="tx1">
                    <a:lumMod val="85000"/>
                    <a:lumOff val="15000"/>
                  </a:schemeClr>
                </a:solidFill>
                <a:latin typeface="+mj-lt"/>
              </a:defRPr>
            </a:lvl1pPr>
            <a:lvl2pPr>
              <a:buClr>
                <a:schemeClr val="accent6"/>
              </a:buClr>
              <a:defRPr>
                <a:solidFill>
                  <a:schemeClr val="tx1">
                    <a:lumMod val="85000"/>
                    <a:lumOff val="15000"/>
                  </a:schemeClr>
                </a:solidFill>
                <a:latin typeface="+mj-lt"/>
              </a:defRPr>
            </a:lvl2pPr>
            <a:lvl3pPr>
              <a:buClr>
                <a:schemeClr val="accent6"/>
              </a:buClr>
              <a:defRPr>
                <a:solidFill>
                  <a:schemeClr val="tx1">
                    <a:lumMod val="85000"/>
                    <a:lumOff val="15000"/>
                  </a:schemeClr>
                </a:solidFill>
                <a:latin typeface="+mj-lt"/>
              </a:defRPr>
            </a:lvl3pPr>
            <a:lvl4pPr>
              <a:buClr>
                <a:schemeClr val="accent6"/>
              </a:buClr>
              <a:defRPr>
                <a:solidFill>
                  <a:schemeClr val="tx1">
                    <a:lumMod val="85000"/>
                    <a:lumOff val="15000"/>
                  </a:schemeClr>
                </a:solidFill>
                <a:latin typeface="+mj-lt"/>
              </a:defRPr>
            </a:lvl4pPr>
            <a:lvl5pPr>
              <a:buClr>
                <a:schemeClr val="accent6"/>
              </a:buClr>
              <a:defRPr>
                <a:solidFill>
                  <a:schemeClr val="tx1">
                    <a:lumMod val="85000"/>
                    <a:lumOff val="15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2D0755AD-F676-3047-A2D2-7CFD9D36BB51}"/>
              </a:ext>
            </a:extLst>
          </p:cNvPr>
          <p:cNvSpPr>
            <a:spLocks noGrp="1"/>
          </p:cNvSpPr>
          <p:nvPr>
            <p:ph type="ftr" sz="quarter" idx="3"/>
          </p:nvPr>
        </p:nvSpPr>
        <p:spPr>
          <a:xfrm>
            <a:off x="3851030" y="6491866"/>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Slide Number Placeholder 5">
            <a:extLst>
              <a:ext uri="{FF2B5EF4-FFF2-40B4-BE49-F238E27FC236}">
                <a16:creationId xmlns:a16="http://schemas.microsoft.com/office/drawing/2014/main" id="{861DC1F4-AE4C-A540-8D11-FB086652F711}"/>
              </a:ext>
            </a:extLst>
          </p:cNvPr>
          <p:cNvSpPr>
            <a:spLocks noGrp="1"/>
          </p:cNvSpPr>
          <p:nvPr>
            <p:ph type="sldNum" sz="quarter" idx="4"/>
          </p:nvPr>
        </p:nvSpPr>
        <p:spPr>
          <a:xfrm>
            <a:off x="6744142" y="6492875"/>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21" name="Picture 20">
            <a:extLst>
              <a:ext uri="{FF2B5EF4-FFF2-40B4-BE49-F238E27FC236}">
                <a16:creationId xmlns:a16="http://schemas.microsoft.com/office/drawing/2014/main" id="{C2AF69F6-4BC9-7444-8C44-583B9AC48E44}"/>
              </a:ext>
            </a:extLst>
          </p:cNvPr>
          <p:cNvPicPr>
            <a:picLocks noChangeAspect="1"/>
          </p:cNvPicPr>
          <p:nvPr userDrawn="1"/>
        </p:nvPicPr>
        <p:blipFill>
          <a:blip r:embed="rId2"/>
          <a:stretch>
            <a:fillRect/>
          </a:stretch>
        </p:blipFill>
        <p:spPr>
          <a:xfrm>
            <a:off x="11210760" y="5736515"/>
            <a:ext cx="766958" cy="990385"/>
          </a:xfrm>
          <a:prstGeom prst="rect">
            <a:avLst/>
          </a:prstGeom>
          <a:ln w="19050">
            <a:solidFill>
              <a:schemeClr val="bg1"/>
            </a:solidFill>
          </a:ln>
        </p:spPr>
      </p:pic>
      <p:sp>
        <p:nvSpPr>
          <p:cNvPr id="22" name="Rectangle 21">
            <a:extLst>
              <a:ext uri="{FF2B5EF4-FFF2-40B4-BE49-F238E27FC236}">
                <a16:creationId xmlns:a16="http://schemas.microsoft.com/office/drawing/2014/main" id="{13708847-A686-E34B-B146-411C28A25638}"/>
              </a:ext>
            </a:extLst>
          </p:cNvPr>
          <p:cNvSpPr/>
          <p:nvPr userDrawn="1"/>
        </p:nvSpPr>
        <p:spPr>
          <a:xfrm>
            <a:off x="11066959" y="5960299"/>
            <a:ext cx="1063173" cy="525969"/>
          </a:xfrm>
          <a:prstGeom prst="rect">
            <a:avLst/>
          </a:prstGeom>
          <a:solidFill>
            <a:schemeClr val="accent2">
              <a:alpha val="8488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6">
            <a:extLst>
              <a:ext uri="{FF2B5EF4-FFF2-40B4-BE49-F238E27FC236}">
                <a16:creationId xmlns:a16="http://schemas.microsoft.com/office/drawing/2014/main" id="{27D00C30-24E8-F943-97C6-D4A81F18B7D0}"/>
              </a:ext>
            </a:extLst>
          </p:cNvPr>
          <p:cNvSpPr>
            <a:spLocks noGrp="1"/>
          </p:cNvSpPr>
          <p:nvPr>
            <p:ph type="body" sz="quarter" idx="10" hasCustomPrompt="1"/>
          </p:nvPr>
        </p:nvSpPr>
        <p:spPr>
          <a:xfrm>
            <a:off x="11066960" y="6182827"/>
            <a:ext cx="1054560" cy="321197"/>
          </a:xfrm>
          <a:prstGeom prst="rect">
            <a:avLst/>
          </a:prstGeom>
        </p:spPr>
        <p:txBody>
          <a:bodyPr/>
          <a:lstStyle>
            <a:lvl1pPr marL="0" indent="0" algn="ctr">
              <a:buNone/>
              <a:defRPr sz="1800" b="1"/>
            </a:lvl1pPr>
          </a:lstStyle>
          <a:p>
            <a:pPr lvl="0"/>
            <a:r>
              <a:rPr lang="en-US"/>
              <a:t>#</a:t>
            </a:r>
          </a:p>
        </p:txBody>
      </p:sp>
      <p:sp>
        <p:nvSpPr>
          <p:cNvPr id="24" name="Freeform 23">
            <a:extLst>
              <a:ext uri="{FF2B5EF4-FFF2-40B4-BE49-F238E27FC236}">
                <a16:creationId xmlns:a16="http://schemas.microsoft.com/office/drawing/2014/main" id="{D222E612-1A36-4143-8AFC-2C3E252ED80E}"/>
              </a:ext>
            </a:extLst>
          </p:cNvPr>
          <p:cNvSpPr/>
          <p:nvPr userDrawn="1"/>
        </p:nvSpPr>
        <p:spPr>
          <a:xfrm>
            <a:off x="165476"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3B2C926A-0DD1-684E-AE5E-9B72F29944B5}"/>
              </a:ext>
            </a:extLst>
          </p:cNvPr>
          <p:cNvSpPr/>
          <p:nvPr userDrawn="1"/>
        </p:nvSpPr>
        <p:spPr>
          <a:xfrm>
            <a:off x="0" y="0"/>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6" name="Picture 25" descr="Logo&#10;&#10;Description automatically generated">
            <a:extLst>
              <a:ext uri="{FF2B5EF4-FFF2-40B4-BE49-F238E27FC236}">
                <a16:creationId xmlns:a16="http://schemas.microsoft.com/office/drawing/2014/main" id="{1AEDF18C-DF70-2B42-ADE2-A29A4FBBDA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5488" y="6256523"/>
            <a:ext cx="1019318" cy="502864"/>
          </a:xfrm>
          <a:prstGeom prst="rect">
            <a:avLst/>
          </a:prstGeom>
        </p:spPr>
      </p:pic>
      <p:sp>
        <p:nvSpPr>
          <p:cNvPr id="9" name="TextBox 8">
            <a:extLst>
              <a:ext uri="{FF2B5EF4-FFF2-40B4-BE49-F238E27FC236}">
                <a16:creationId xmlns:a16="http://schemas.microsoft.com/office/drawing/2014/main" id="{3F717B55-7128-A048-A13B-D142D60C1111}"/>
              </a:ext>
            </a:extLst>
          </p:cNvPr>
          <p:cNvSpPr txBox="1"/>
          <p:nvPr userDrawn="1"/>
        </p:nvSpPr>
        <p:spPr>
          <a:xfrm>
            <a:off x="11289555" y="5901684"/>
            <a:ext cx="922482" cy="338554"/>
          </a:xfrm>
          <a:prstGeom prst="rect">
            <a:avLst/>
          </a:prstGeom>
          <a:noFill/>
        </p:spPr>
        <p:txBody>
          <a:bodyPr wrap="square" rtlCol="0">
            <a:spAutoFit/>
          </a:bodyPr>
          <a:lstStyle/>
          <a:p>
            <a:r>
              <a:rPr lang="en-US" sz="1600" b="1">
                <a:solidFill>
                  <a:schemeClr val="bg1"/>
                </a:solidFill>
              </a:rPr>
              <a:t>Page:</a:t>
            </a:r>
          </a:p>
        </p:txBody>
      </p:sp>
      <p:pic>
        <p:nvPicPr>
          <p:cNvPr id="28" name="Picture 27">
            <a:extLst>
              <a:ext uri="{FF2B5EF4-FFF2-40B4-BE49-F238E27FC236}">
                <a16:creationId xmlns:a16="http://schemas.microsoft.com/office/drawing/2014/main" id="{CB716C01-B2BF-F74F-86A4-5D90694CCF73}"/>
              </a:ext>
            </a:extLst>
          </p:cNvPr>
          <p:cNvPicPr>
            <a:picLocks noChangeAspect="1"/>
          </p:cNvPicPr>
          <p:nvPr userDrawn="1"/>
        </p:nvPicPr>
        <p:blipFill rotWithShape="1">
          <a:blip r:embed="rId4"/>
          <a:srcRect l="8796" t="74510" r="9683" b="979"/>
          <a:stretch/>
        </p:blipFill>
        <p:spPr>
          <a:xfrm flipH="1">
            <a:off x="265488" y="823759"/>
            <a:ext cx="723576" cy="722606"/>
          </a:xfrm>
          <a:prstGeom prst="ellipse">
            <a:avLst/>
          </a:prstGeom>
        </p:spPr>
      </p:pic>
      <p:sp>
        <p:nvSpPr>
          <p:cNvPr id="27" name="TextBox 26">
            <a:extLst>
              <a:ext uri="{FF2B5EF4-FFF2-40B4-BE49-F238E27FC236}">
                <a16:creationId xmlns:a16="http://schemas.microsoft.com/office/drawing/2014/main" id="{83091A18-8B6C-2F48-A722-15B5348AC053}"/>
              </a:ext>
            </a:extLst>
          </p:cNvPr>
          <p:cNvSpPr txBox="1"/>
          <p:nvPr userDrawn="1"/>
        </p:nvSpPr>
        <p:spPr>
          <a:xfrm rot="16200000">
            <a:off x="-325540" y="314083"/>
            <a:ext cx="1101969" cy="369332"/>
          </a:xfrm>
          <a:prstGeom prst="rect">
            <a:avLst/>
          </a:prstGeom>
          <a:noFill/>
        </p:spPr>
        <p:txBody>
          <a:bodyPr wrap="square" rtlCol="0">
            <a:spAutoFit/>
          </a:bodyPr>
          <a:lstStyle/>
          <a:p>
            <a:pPr algn="ctr"/>
            <a:r>
              <a:rPr lang="en-US" sz="1800" b="0">
                <a:solidFill>
                  <a:schemeClr val="bg1"/>
                </a:solidFill>
                <a:latin typeface="+mj-lt"/>
              </a:rPr>
              <a:t>CHAPTER</a:t>
            </a:r>
          </a:p>
        </p:txBody>
      </p:sp>
      <p:sp>
        <p:nvSpPr>
          <p:cNvPr id="29" name="Text Placeholder 2">
            <a:extLst>
              <a:ext uri="{FF2B5EF4-FFF2-40B4-BE49-F238E27FC236}">
                <a16:creationId xmlns:a16="http://schemas.microsoft.com/office/drawing/2014/main" id="{1F5A9AA0-C8AB-3A4D-8CB4-DCE1E41513C6}"/>
              </a:ext>
            </a:extLst>
          </p:cNvPr>
          <p:cNvSpPr>
            <a:spLocks noGrp="1"/>
          </p:cNvSpPr>
          <p:nvPr>
            <p:ph type="body" sz="quarter" idx="11" hasCustomPrompt="1"/>
          </p:nvPr>
        </p:nvSpPr>
        <p:spPr>
          <a:xfrm>
            <a:off x="523923" y="254556"/>
            <a:ext cx="577850" cy="644525"/>
          </a:xfrm>
          <a:prstGeom prst="rect">
            <a:avLst/>
          </a:prstGeom>
        </p:spPr>
        <p:txBody>
          <a:bodyPr/>
          <a:lstStyle>
            <a:lvl1pPr marL="0" indent="0" algn="ctr">
              <a:buNone/>
              <a:defRPr sz="3200" b="1"/>
            </a:lvl1pPr>
          </a:lstStyle>
          <a:p>
            <a:pPr lvl="0"/>
            <a:r>
              <a:rPr lang="en-US"/>
              <a:t>#</a:t>
            </a:r>
          </a:p>
        </p:txBody>
      </p:sp>
    </p:spTree>
    <p:extLst>
      <p:ext uri="{BB962C8B-B14F-4D97-AF65-F5344CB8AC3E}">
        <p14:creationId xmlns:p14="http://schemas.microsoft.com/office/powerpoint/2010/main" val="10968493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792701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81647097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9868054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06768049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744029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83954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3/20/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53651894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92491093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0217510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0424677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5942767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64105092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516211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50807093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27031084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6326322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1977712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2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grpSp>
        <p:nvGrpSpPr>
          <p:cNvPr id="14" name="Group 13">
            <a:extLst>
              <a:ext uri="{FF2B5EF4-FFF2-40B4-BE49-F238E27FC236}">
                <a16:creationId xmlns:a16="http://schemas.microsoft.com/office/drawing/2014/main" id="{1436E59F-4C3A-47CB-B433-E72570CB8E4D}"/>
              </a:ext>
            </a:extLst>
          </p:cNvPr>
          <p:cNvGrpSpPr/>
          <p:nvPr userDrawn="1"/>
        </p:nvGrpSpPr>
        <p:grpSpPr>
          <a:xfrm>
            <a:off x="10488859" y="838172"/>
            <a:ext cx="1531420" cy="1434182"/>
            <a:chOff x="10212087" y="1105219"/>
            <a:chExt cx="1531420" cy="1434182"/>
          </a:xfrm>
        </p:grpSpPr>
        <p:pic>
          <p:nvPicPr>
            <p:cNvPr id="15" name="Graphic 14" descr="Label">
              <a:extLst>
                <a:ext uri="{FF2B5EF4-FFF2-40B4-BE49-F238E27FC236}">
                  <a16:creationId xmlns:a16="http://schemas.microsoft.com/office/drawing/2014/main" id="{F2D456C1-9FDF-4AF6-8FBA-412D7DC2D7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09325" y="1105219"/>
              <a:ext cx="1434182" cy="1434182"/>
            </a:xfrm>
            <a:prstGeom prst="rect">
              <a:avLst/>
            </a:prstGeom>
          </p:spPr>
        </p:pic>
        <p:sp>
          <p:nvSpPr>
            <p:cNvPr id="16" name="Hexagon 15">
              <a:extLst>
                <a:ext uri="{FF2B5EF4-FFF2-40B4-BE49-F238E27FC236}">
                  <a16:creationId xmlns:a16="http://schemas.microsoft.com/office/drawing/2014/main" id="{D56840C6-E40C-4CEA-89BE-F89AA9E6CA5A}"/>
                </a:ext>
              </a:extLst>
            </p:cNvPr>
            <p:cNvSpPr/>
            <p:nvPr/>
          </p:nvSpPr>
          <p:spPr>
            <a:xfrm>
              <a:off x="10212087" y="110899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5C0DAD38-A06F-4FB9-BA77-56B33F46A20B}"/>
              </a:ext>
            </a:extLst>
          </p:cNvPr>
          <p:cNvGrpSpPr/>
          <p:nvPr userDrawn="1"/>
        </p:nvGrpSpPr>
        <p:grpSpPr>
          <a:xfrm>
            <a:off x="9210675" y="88334"/>
            <a:ext cx="1505718" cy="1380122"/>
            <a:chOff x="8710729" y="364553"/>
            <a:chExt cx="1505718" cy="1380122"/>
          </a:xfrm>
        </p:grpSpPr>
        <p:pic>
          <p:nvPicPr>
            <p:cNvPr id="18" name="Graphic 17" descr="Sign">
              <a:extLst>
                <a:ext uri="{FF2B5EF4-FFF2-40B4-BE49-F238E27FC236}">
                  <a16:creationId xmlns:a16="http://schemas.microsoft.com/office/drawing/2014/main" id="{DFED89AA-08F8-41B9-B3E1-DBE993BD2F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96971" y="489327"/>
              <a:ext cx="1110491" cy="1110491"/>
            </a:xfrm>
            <a:prstGeom prst="rect">
              <a:avLst/>
            </a:prstGeom>
          </p:spPr>
        </p:pic>
        <p:sp>
          <p:nvSpPr>
            <p:cNvPr id="19" name="Hexagon 18">
              <a:extLst>
                <a:ext uri="{FF2B5EF4-FFF2-40B4-BE49-F238E27FC236}">
                  <a16:creationId xmlns:a16="http://schemas.microsoft.com/office/drawing/2014/main" id="{7AD04262-919B-4F35-9BB5-44E524D84574}"/>
                </a:ext>
              </a:extLst>
            </p:cNvPr>
            <p:cNvSpPr/>
            <p:nvPr/>
          </p:nvSpPr>
          <p:spPr>
            <a:xfrm>
              <a:off x="8710729" y="36455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1662272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grpSp>
        <p:nvGrpSpPr>
          <p:cNvPr id="14" name="Group 13">
            <a:extLst>
              <a:ext uri="{FF2B5EF4-FFF2-40B4-BE49-F238E27FC236}">
                <a16:creationId xmlns:a16="http://schemas.microsoft.com/office/drawing/2014/main" id="{442F8ABD-09A7-438B-89A7-BA7BF1A4AFE0}"/>
              </a:ext>
            </a:extLst>
          </p:cNvPr>
          <p:cNvGrpSpPr/>
          <p:nvPr userDrawn="1"/>
        </p:nvGrpSpPr>
        <p:grpSpPr>
          <a:xfrm>
            <a:off x="10488859" y="838172"/>
            <a:ext cx="1531420" cy="1434182"/>
            <a:chOff x="10212087" y="1105219"/>
            <a:chExt cx="1531420" cy="1434182"/>
          </a:xfrm>
        </p:grpSpPr>
        <p:pic>
          <p:nvPicPr>
            <p:cNvPr id="15" name="Graphic 14" descr="Label">
              <a:extLst>
                <a:ext uri="{FF2B5EF4-FFF2-40B4-BE49-F238E27FC236}">
                  <a16:creationId xmlns:a16="http://schemas.microsoft.com/office/drawing/2014/main" id="{E41BA59C-A430-4CB7-93DA-F89C913B1A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09325" y="1105219"/>
              <a:ext cx="1434182" cy="1434182"/>
            </a:xfrm>
            <a:prstGeom prst="rect">
              <a:avLst/>
            </a:prstGeom>
          </p:spPr>
        </p:pic>
        <p:sp>
          <p:nvSpPr>
            <p:cNvPr id="16" name="Hexagon 15">
              <a:extLst>
                <a:ext uri="{FF2B5EF4-FFF2-40B4-BE49-F238E27FC236}">
                  <a16:creationId xmlns:a16="http://schemas.microsoft.com/office/drawing/2014/main" id="{7F7CBB8C-5B5E-4FA8-B3D7-34FB339E3632}"/>
                </a:ext>
              </a:extLst>
            </p:cNvPr>
            <p:cNvSpPr/>
            <p:nvPr/>
          </p:nvSpPr>
          <p:spPr>
            <a:xfrm>
              <a:off x="10212087" y="110899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AD1DCC2A-2181-401B-A244-5AA253D60D57}"/>
              </a:ext>
            </a:extLst>
          </p:cNvPr>
          <p:cNvGrpSpPr/>
          <p:nvPr userDrawn="1"/>
        </p:nvGrpSpPr>
        <p:grpSpPr>
          <a:xfrm>
            <a:off x="9210675" y="88334"/>
            <a:ext cx="1505718" cy="1380122"/>
            <a:chOff x="8710729" y="364553"/>
            <a:chExt cx="1505718" cy="1380122"/>
          </a:xfrm>
        </p:grpSpPr>
        <p:pic>
          <p:nvPicPr>
            <p:cNvPr id="18" name="Graphic 17" descr="Sign">
              <a:extLst>
                <a:ext uri="{FF2B5EF4-FFF2-40B4-BE49-F238E27FC236}">
                  <a16:creationId xmlns:a16="http://schemas.microsoft.com/office/drawing/2014/main" id="{938C0F2E-B6D7-4319-B441-EDA370531D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96971" y="489327"/>
              <a:ext cx="1110491" cy="1110491"/>
            </a:xfrm>
            <a:prstGeom prst="rect">
              <a:avLst/>
            </a:prstGeom>
          </p:spPr>
        </p:pic>
        <p:sp>
          <p:nvSpPr>
            <p:cNvPr id="19" name="Hexagon 18">
              <a:extLst>
                <a:ext uri="{FF2B5EF4-FFF2-40B4-BE49-F238E27FC236}">
                  <a16:creationId xmlns:a16="http://schemas.microsoft.com/office/drawing/2014/main" id="{8DCDDA60-810B-4003-AB42-D2A80E08B363}"/>
                </a:ext>
              </a:extLst>
            </p:cNvPr>
            <p:cNvSpPr/>
            <p:nvPr/>
          </p:nvSpPr>
          <p:spPr>
            <a:xfrm>
              <a:off x="8710729" y="36455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Content Placeholder 20">
            <a:extLst>
              <a:ext uri="{FF2B5EF4-FFF2-40B4-BE49-F238E27FC236}">
                <a16:creationId xmlns:a16="http://schemas.microsoft.com/office/drawing/2014/main" id="{D72FF945-A9DA-477A-9CDF-CA3D5C7FB5AB}"/>
              </a:ext>
            </a:extLst>
          </p:cNvPr>
          <p:cNvSpPr>
            <a:spLocks noGrp="1"/>
          </p:cNvSpPr>
          <p:nvPr>
            <p:ph sz="quarter" idx="10"/>
          </p:nvPr>
        </p:nvSpPr>
        <p:spPr>
          <a:xfrm>
            <a:off x="712788" y="1527175"/>
            <a:ext cx="4441103" cy="4267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id="{65E3A53E-E8D4-4089-B534-AC5E55BAC241}"/>
              </a:ext>
            </a:extLst>
          </p:cNvPr>
          <p:cNvSpPr>
            <a:spLocks noGrp="1"/>
          </p:cNvSpPr>
          <p:nvPr>
            <p:ph sz="quarter" idx="11"/>
          </p:nvPr>
        </p:nvSpPr>
        <p:spPr>
          <a:xfrm>
            <a:off x="5392445" y="1518742"/>
            <a:ext cx="4200525" cy="4267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23241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23405596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224109689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406053951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386610715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331814775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101780606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D1AF071-F5BF-427C-8C52-B64F942EF3E0}" type="datetimeFigureOut">
              <a:rPr lang="en-US" smtClean="0"/>
              <a:t>3/20/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18967981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3695323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08117265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 name="Title 1">
            <a:extLst>
              <a:ext uri="{FF2B5EF4-FFF2-40B4-BE49-F238E27FC236}">
                <a16:creationId xmlns:a16="http://schemas.microsoft.com/office/drawing/2014/main" id="{3073628F-1E16-4EC8-9B3B-7374ACBBB539}"/>
              </a:ext>
            </a:extLst>
          </p:cNvPr>
          <p:cNvSpPr>
            <a:spLocks noGrp="1"/>
          </p:cNvSpPr>
          <p:nvPr>
            <p:ph type="title"/>
          </p:nvPr>
        </p:nvSpPr>
        <p:spPr>
          <a:xfrm>
            <a:off x="1949395" y="111861"/>
            <a:ext cx="11164188" cy="751350"/>
          </a:xfrm>
        </p:spPr>
        <p:txBody>
          <a:bodyPr/>
          <a:lstStyle/>
          <a:p>
            <a:r>
              <a:rPr lang="en-US"/>
              <a:t>Click to edit Master title style</a:t>
            </a:r>
          </a:p>
        </p:txBody>
      </p:sp>
    </p:spTree>
    <p:extLst>
      <p:ext uri="{BB962C8B-B14F-4D97-AF65-F5344CB8AC3E}">
        <p14:creationId xmlns:p14="http://schemas.microsoft.com/office/powerpoint/2010/main" val="170817708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91352934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 name="Title 1">
            <a:extLst>
              <a:ext uri="{FF2B5EF4-FFF2-40B4-BE49-F238E27FC236}">
                <a16:creationId xmlns:a16="http://schemas.microsoft.com/office/drawing/2014/main" id="{F0608C50-2D05-4A9C-9E4F-7CCD668508AF}"/>
              </a:ext>
            </a:extLst>
          </p:cNvPr>
          <p:cNvSpPr>
            <a:spLocks noGrp="1"/>
          </p:cNvSpPr>
          <p:nvPr>
            <p:ph type="title"/>
          </p:nvPr>
        </p:nvSpPr>
        <p:spPr>
          <a:xfrm>
            <a:off x="2065361" y="106018"/>
            <a:ext cx="11164188" cy="751350"/>
          </a:xfrm>
        </p:spPr>
        <p:txBody>
          <a:bodyPr/>
          <a:lstStyle/>
          <a:p>
            <a:r>
              <a:rPr lang="en-US"/>
              <a:t>Click to edit Master title style</a:t>
            </a:r>
          </a:p>
        </p:txBody>
      </p:sp>
    </p:spTree>
    <p:extLst>
      <p:ext uri="{BB962C8B-B14F-4D97-AF65-F5344CB8AC3E}">
        <p14:creationId xmlns:p14="http://schemas.microsoft.com/office/powerpoint/2010/main" val="174901585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 name="Title 1">
            <a:extLst>
              <a:ext uri="{FF2B5EF4-FFF2-40B4-BE49-F238E27FC236}">
                <a16:creationId xmlns:a16="http://schemas.microsoft.com/office/drawing/2014/main" id="{C3692B5F-F6DA-4BC9-A058-F74BBC5D020B}"/>
              </a:ext>
            </a:extLst>
          </p:cNvPr>
          <p:cNvSpPr>
            <a:spLocks noGrp="1"/>
          </p:cNvSpPr>
          <p:nvPr>
            <p:ph type="title"/>
          </p:nvPr>
        </p:nvSpPr>
        <p:spPr>
          <a:xfrm>
            <a:off x="1824251" y="61192"/>
            <a:ext cx="11164188" cy="751350"/>
          </a:xfrm>
        </p:spPr>
        <p:txBody>
          <a:bodyPr/>
          <a:lstStyle/>
          <a:p>
            <a:r>
              <a:rPr lang="en-US"/>
              <a:t>Click to edit Master title style</a:t>
            </a:r>
          </a:p>
        </p:txBody>
      </p:sp>
    </p:spTree>
    <p:extLst>
      <p:ext uri="{BB962C8B-B14F-4D97-AF65-F5344CB8AC3E}">
        <p14:creationId xmlns:p14="http://schemas.microsoft.com/office/powerpoint/2010/main" val="42496193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67891843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ED1AF071-F5BF-427C-8C52-B64F942EF3E0}"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8883787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11" name="Picture 10">
            <a:extLst>
              <a:ext uri="{FF2B5EF4-FFF2-40B4-BE49-F238E27FC236}">
                <a16:creationId xmlns:a16="http://schemas.microsoft.com/office/drawing/2014/main" id="{0643E1E6-D75D-4FDA-86E2-BF84BCF7FC1C}"/>
              </a:ext>
              <a:ext uri="{C183D7F6-B498-43B3-948B-1728B52AA6E4}">
                <adec:decorative xmlns:adec="http://schemas.microsoft.com/office/drawing/2017/decorative" val="1"/>
              </a:ext>
            </a:extLst>
          </p:cNvPr>
          <p:cNvPicPr>
            <a:picLocks noChangeAspect="1"/>
          </p:cNvPicPr>
          <p:nvPr userDrawn="1"/>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44539" y="5026293"/>
            <a:ext cx="1390017" cy="1831705"/>
          </a:xfrm>
          <a:prstGeom prst="rect">
            <a:avLst/>
          </a:prstGeom>
        </p:spPr>
      </p:pic>
    </p:spTree>
    <p:extLst>
      <p:ext uri="{BB962C8B-B14F-4D97-AF65-F5344CB8AC3E}">
        <p14:creationId xmlns:p14="http://schemas.microsoft.com/office/powerpoint/2010/main" val="220327236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11444310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ED1AF071-F5BF-427C-8C52-B64F942EF3E0}" type="datetimeFigureOut">
              <a:rPr lang="en-US" smtClean="0"/>
              <a:t>3/20/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53456488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3978872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8C4079B5-6E78-40CC-933D-7055C62C03DA}"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Tree>
    <p:extLst>
      <p:ext uri="{BB962C8B-B14F-4D97-AF65-F5344CB8AC3E}">
        <p14:creationId xmlns:p14="http://schemas.microsoft.com/office/powerpoint/2010/main" val="7859411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32350147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506992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ED1AF071-F5BF-427C-8C52-B64F942EF3E0}" type="datetimeFigureOut">
              <a:rPr lang="en-US" smtClean="0"/>
              <a:t>3/20/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4526958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7EC28D46-687E-47DE-BF1D-3D32C28407C9}"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20.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063510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FEAA0A66-06B7-42CD-8D15-C524C38511DE}" type="datetime1">
              <a:rPr lang="en-US" smtClean="0"/>
              <a:t>3/20/2023</a:t>
            </a:fld>
            <a:endParaRPr lang="en-US"/>
          </a:p>
        </p:txBody>
      </p:sp>
      <p:sp>
        <p:nvSpPr>
          <p:cNvPr id="6" name="Footer Placeholder 5"/>
          <p:cNvSpPr>
            <a:spLocks noGrp="1"/>
          </p:cNvSpPr>
          <p:nvPr>
            <p:ph type="ftr" sz="quarter" idx="11"/>
          </p:nvPr>
        </p:nvSpPr>
        <p:spPr/>
        <p:txBody>
          <a:bodyPr/>
          <a:lstStyle/>
          <a:p>
            <a:r>
              <a:rPr lang="en-US"/>
              <a:t>Copyright ©Texas Education Agency, 2020.  All rights reserved.</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47215762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userDrawn="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4ECEE43-6B29-48CD-9A8E-357B00CF0717}"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19.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344725222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4ECEE43-6B29-48CD-9A8E-357B00CF0717}"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19.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359644398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8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Placeholder 8">
            <a:extLst>
              <a:ext uri="{FF2B5EF4-FFF2-40B4-BE49-F238E27FC236}">
                <a16:creationId xmlns:a16="http://schemas.microsoft.com/office/drawing/2014/main" id="{922CFC55-EE78-4D7F-B2B8-53CFD85D0CD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Lst>
          </a:blip>
          <a:srcRect t="15634" b="15634"/>
          <a:stretch>
            <a:fillRect/>
          </a:stretch>
        </p:blipFill>
        <p:spPr>
          <a:xfrm>
            <a:off x="0" y="1268412"/>
            <a:ext cx="12192000" cy="5589588"/>
          </a:xfrm>
          <a:prstGeom prst="rect">
            <a:avLst/>
          </a:prstGeom>
        </p:spPr>
      </p:pic>
      <p:pic>
        <p:nvPicPr>
          <p:cNvPr id="9" name="Picture 8">
            <a:extLst>
              <a:ext uri="{FF2B5EF4-FFF2-40B4-BE49-F238E27FC236}">
                <a16:creationId xmlns:a16="http://schemas.microsoft.com/office/drawing/2014/main" id="{AE035093-B4A4-4C2D-9D64-29D854CA5F62}"/>
              </a:ext>
              <a:ext uri="{C183D7F6-B498-43B3-948B-1728B52AA6E4}">
                <adec:decorative xmlns:adec="http://schemas.microsoft.com/office/drawing/2017/decorative" val="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21070500">
            <a:off x="-254904" y="-38474"/>
            <a:ext cx="5213341" cy="3723815"/>
          </a:xfrm>
          <a:prstGeom prst="rect">
            <a:avLst/>
          </a:prstGeom>
        </p:spPr>
      </p:pic>
      <p:sp>
        <p:nvSpPr>
          <p:cNvPr id="10" name="Text Placeholder 3">
            <a:extLst>
              <a:ext uri="{FF2B5EF4-FFF2-40B4-BE49-F238E27FC236}">
                <a16:creationId xmlns:a16="http://schemas.microsoft.com/office/drawing/2014/main" id="{EF5AF889-4713-4863-95A0-76C764066E9A}"/>
              </a:ext>
              <a:ext uri="{C183D7F6-B498-43B3-948B-1728B52AA6E4}">
                <adec:decorative xmlns:adec="http://schemas.microsoft.com/office/drawing/2017/decorative" val="1"/>
              </a:ext>
            </a:extLst>
          </p:cNvPr>
          <p:cNvSpPr txBox="1">
            <a:spLocks/>
          </p:cNvSpPr>
          <p:nvPr userDrawn="1"/>
        </p:nvSpPr>
        <p:spPr>
          <a:xfrm rot="20641813">
            <a:off x="554020" y="1092744"/>
            <a:ext cx="3752715" cy="1847185"/>
          </a:xfrm>
          <a:prstGeom prst="rect">
            <a:avLst/>
          </a:prstGeom>
        </p:spPr>
        <p:txBody>
          <a:bodyPr/>
          <a:lst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ED7D31"/>
              </a:buClr>
              <a:buSzTx/>
              <a:buFont typeface="Wingdings" panose="05000000000000000000" pitchFamily="2" charset="2"/>
              <a:buNone/>
              <a:tabLst/>
              <a:defRPr/>
            </a:pPr>
            <a:r>
              <a:rPr lang="en-US" sz="3600">
                <a:solidFill>
                  <a:prstClr val="white"/>
                </a:solidFill>
                <a:latin typeface="Calibri" panose="020F0502020204030204"/>
              </a:rPr>
              <a:t>LEA </a:t>
            </a:r>
            <a:r>
              <a:rPr kumimoji="0" lang="en-US" sz="3600" b="0" i="0" u="none" strike="noStrike" kern="1200" cap="none" spc="0" normalizeH="0" baseline="0" noProof="0">
                <a:ln>
                  <a:noFill/>
                </a:ln>
                <a:solidFill>
                  <a:prstClr val="white"/>
                </a:solidFill>
                <a:effectLst/>
                <a:uLnTx/>
                <a:uFillTx/>
                <a:latin typeface="Calibri" panose="020F0502020204030204"/>
                <a:ea typeface="+mn-ea"/>
                <a:cs typeface="+mn-cs"/>
              </a:rPr>
              <a:t>Leadership and Teacher Corner</a:t>
            </a:r>
          </a:p>
        </p:txBody>
      </p:sp>
    </p:spTree>
    <p:extLst>
      <p:ext uri="{BB962C8B-B14F-4D97-AF65-F5344CB8AC3E}">
        <p14:creationId xmlns:p14="http://schemas.microsoft.com/office/powerpoint/2010/main" val="140043324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988F582-5A96-4AE3-8E0D-7912456E2DBD}" type="datetime1">
              <a:rPr lang="en-US" smtClean="0"/>
              <a:t>3/20/2023</a:t>
            </a:fld>
            <a:endParaRPr lang="en-US"/>
          </a:p>
        </p:txBody>
      </p:sp>
      <p:sp>
        <p:nvSpPr>
          <p:cNvPr id="4" name="Footer Placeholder 3"/>
          <p:cNvSpPr>
            <a:spLocks noGrp="1"/>
          </p:cNvSpPr>
          <p:nvPr>
            <p:ph type="ftr" sz="quarter" idx="11"/>
          </p:nvPr>
        </p:nvSpPr>
        <p:spPr/>
        <p:txBody>
          <a:bodyPr/>
          <a:lstStyle/>
          <a:p>
            <a:r>
              <a:rPr lang="en-US"/>
              <a:t>Copyright ©Texas Education Agency, 2019.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263008979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B79FCB8-E3F6-45DC-8E17-11EB1289E1BB}" type="datetime1">
              <a:rPr lang="en-US" smtClean="0"/>
              <a:t>3/20/2023</a:t>
            </a:fld>
            <a:endParaRPr lang="en-US"/>
          </a:p>
        </p:txBody>
      </p:sp>
      <p:sp>
        <p:nvSpPr>
          <p:cNvPr id="4" name="Footer Placeholder 3"/>
          <p:cNvSpPr>
            <a:spLocks noGrp="1"/>
          </p:cNvSpPr>
          <p:nvPr>
            <p:ph type="ftr" sz="quarter" idx="11"/>
          </p:nvPr>
        </p:nvSpPr>
        <p:spPr/>
        <p:txBody>
          <a:bodyPr/>
          <a:lstStyle/>
          <a:p>
            <a:r>
              <a:rPr lang="en-US"/>
              <a:t>Copyright ©Texas Education Agency, 2020.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744900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01175001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5921" y="276317"/>
            <a:ext cx="11164188" cy="751350"/>
          </a:xfrm>
        </p:spPr>
        <p:txBody>
          <a:bodyPr/>
          <a:lstStyle>
            <a:lvl1pPr algn="ctr">
              <a:defRPr/>
            </a:lvl1pPr>
          </a:lstStyle>
          <a:p>
            <a:r>
              <a:rPr lang="en-US"/>
              <a:t>Click to edit Master title style</a:t>
            </a:r>
          </a:p>
        </p:txBody>
      </p:sp>
      <p:sp>
        <p:nvSpPr>
          <p:cNvPr id="3" name="Date Placeholder 2"/>
          <p:cNvSpPr>
            <a:spLocks noGrp="1"/>
          </p:cNvSpPr>
          <p:nvPr>
            <p:ph type="dt" sz="half" idx="10"/>
          </p:nvPr>
        </p:nvSpPr>
        <p:spPr>
          <a:xfrm>
            <a:off x="238125" y="6444336"/>
            <a:ext cx="2743200" cy="365125"/>
          </a:xfrm>
        </p:spPr>
        <p:txBody>
          <a:bodyPr/>
          <a:lstStyle>
            <a:lvl1pPr>
              <a:defRPr/>
            </a:lvl1pPr>
          </a:lstStyle>
          <a:p>
            <a:endParaRPr lang="en-US"/>
          </a:p>
        </p:txBody>
      </p:sp>
      <p:sp>
        <p:nvSpPr>
          <p:cNvPr id="4" name="Footer Placeholder 3"/>
          <p:cNvSpPr>
            <a:spLocks noGrp="1"/>
          </p:cNvSpPr>
          <p:nvPr>
            <p:ph type="ftr" sz="quarter" idx="11"/>
          </p:nvPr>
        </p:nvSpPr>
        <p:spPr>
          <a:xfrm>
            <a:off x="4038600" y="6424294"/>
            <a:ext cx="4114800" cy="365125"/>
          </a:xfrm>
        </p:spPr>
        <p:txBody>
          <a:bodyPr/>
          <a:lstStyle/>
          <a:p>
            <a:r>
              <a:rPr lang="en-US"/>
              <a:t>Copyright ©Texas Education Agency, 2020.  All rights reserved.</a:t>
            </a:r>
          </a:p>
        </p:txBody>
      </p:sp>
      <p:sp>
        <p:nvSpPr>
          <p:cNvPr id="5" name="Slide Number Placeholder 4"/>
          <p:cNvSpPr>
            <a:spLocks noGrp="1"/>
          </p:cNvSpPr>
          <p:nvPr>
            <p:ph type="sldNum" sz="quarter" idx="12"/>
          </p:nvPr>
        </p:nvSpPr>
        <p:spPr>
          <a:xfrm>
            <a:off x="9210675" y="6468399"/>
            <a:ext cx="2743200" cy="365125"/>
          </a:xfrm>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10" name="Picture Placeholder 9">
            <a:extLst>
              <a:ext uri="{FF2B5EF4-FFF2-40B4-BE49-F238E27FC236}">
                <a16:creationId xmlns:a16="http://schemas.microsoft.com/office/drawing/2014/main" id="{283C2CDB-0368-43BB-876D-9EC392D8040C}"/>
              </a:ext>
            </a:extLst>
          </p:cNvPr>
          <p:cNvSpPr>
            <a:spLocks noGrp="1"/>
          </p:cNvSpPr>
          <p:nvPr>
            <p:ph type="pic" sz="quarter" idx="16"/>
          </p:nvPr>
        </p:nvSpPr>
        <p:spPr>
          <a:xfrm>
            <a:off x="9926054" y="4511842"/>
            <a:ext cx="2027822" cy="1912771"/>
          </a:xfrm>
          <a:prstGeom prst="rect">
            <a:avLst/>
          </a:prstGeom>
        </p:spPr>
        <p:txBody>
          <a:bodyPr/>
          <a:lstStyle/>
          <a:p>
            <a:endParaRPr lang="en-US"/>
          </a:p>
        </p:txBody>
      </p:sp>
      <p:sp>
        <p:nvSpPr>
          <p:cNvPr id="15" name="Picture Placeholder 14">
            <a:extLst>
              <a:ext uri="{FF2B5EF4-FFF2-40B4-BE49-F238E27FC236}">
                <a16:creationId xmlns:a16="http://schemas.microsoft.com/office/drawing/2014/main" id="{2DDF7542-7E9F-44D8-89F5-3F30A90F2C56}"/>
              </a:ext>
            </a:extLst>
          </p:cNvPr>
          <p:cNvSpPr>
            <a:spLocks noGrp="1"/>
          </p:cNvSpPr>
          <p:nvPr>
            <p:ph type="pic" sz="quarter" idx="17"/>
          </p:nvPr>
        </p:nvSpPr>
        <p:spPr>
          <a:xfrm>
            <a:off x="10118725" y="4595813"/>
            <a:ext cx="1671638" cy="1612900"/>
          </a:xfrm>
          <a:prstGeom prst="rect">
            <a:avLst/>
          </a:prstGeom>
        </p:spPr>
        <p:txBody>
          <a:bodyPr/>
          <a:lstStyle/>
          <a:p>
            <a:endParaRPr lang="en-US"/>
          </a:p>
        </p:txBody>
      </p:sp>
    </p:spTree>
    <p:extLst>
      <p:ext uri="{BB962C8B-B14F-4D97-AF65-F5344CB8AC3E}">
        <p14:creationId xmlns:p14="http://schemas.microsoft.com/office/powerpoint/2010/main" val="308020824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EA Opener Blank - Mai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a:t>Edit Master Title</a:t>
            </a:r>
          </a:p>
        </p:txBody>
      </p:sp>
      <p:sp>
        <p:nvSpPr>
          <p:cNvPr id="7" name="Date Placeholder 6"/>
          <p:cNvSpPr>
            <a:spLocks noGrp="1"/>
          </p:cNvSpPr>
          <p:nvPr>
            <p:ph type="dt" sz="half" idx="10"/>
          </p:nvPr>
        </p:nvSpPr>
        <p:spPr/>
        <p:txBody>
          <a:bodyPr/>
          <a:lstStyle/>
          <a:p>
            <a:fld id="{BEF82ED6-83F5-4694-8EE8-3B1462F8B6A0}" type="datetime1">
              <a:rPr lang="en-US" smtClean="0"/>
              <a:t>3/20/2023</a:t>
            </a:fld>
            <a:endParaRPr lang="en-US"/>
          </a:p>
        </p:txBody>
      </p:sp>
      <p:sp>
        <p:nvSpPr>
          <p:cNvPr id="8" name="Footer Placeholder 7"/>
          <p:cNvSpPr>
            <a:spLocks noGrp="1"/>
          </p:cNvSpPr>
          <p:nvPr>
            <p:ph type="ftr" sz="quarter" idx="11"/>
          </p:nvPr>
        </p:nvSpPr>
        <p:spPr/>
        <p:txBody>
          <a:bodyPr/>
          <a:lstStyle/>
          <a:p>
            <a:r>
              <a:rPr lang="en-US"/>
              <a:t>Copyright ©Texas Education Agency, 2020.  All rights reserved.</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7240135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78E56D15-5A01-4485-ADDF-95CC8D7049A4}"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20.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30658616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9725" y="311117"/>
            <a:ext cx="10181222" cy="751350"/>
          </a:xfrm>
        </p:spPr>
        <p:txBody>
          <a:bodyPr/>
          <a:lstStyle/>
          <a:p>
            <a:r>
              <a:rPr lang="en-US"/>
              <a:t>Click to edit Master title style</a:t>
            </a:r>
          </a:p>
        </p:txBody>
      </p:sp>
      <p:sp>
        <p:nvSpPr>
          <p:cNvPr id="3" name="Date Placeholder 2"/>
          <p:cNvSpPr>
            <a:spLocks noGrp="1"/>
          </p:cNvSpPr>
          <p:nvPr>
            <p:ph type="dt" sz="half" idx="10"/>
          </p:nvPr>
        </p:nvSpPr>
        <p:spPr>
          <a:xfrm>
            <a:off x="238125" y="6420794"/>
            <a:ext cx="2743200" cy="365125"/>
          </a:xfrm>
        </p:spPr>
        <p:txBody>
          <a:bodyPr/>
          <a:lstStyle/>
          <a:p>
            <a:fld id="{2467F399-A317-43A8-96AE-17337FDF7B61}" type="datetime1">
              <a:rPr lang="en-US" smtClean="0"/>
              <a:t>3/20/2023</a:t>
            </a:fld>
            <a:endParaRPr lang="en-US"/>
          </a:p>
        </p:txBody>
      </p:sp>
      <p:sp>
        <p:nvSpPr>
          <p:cNvPr id="4" name="Footer Placeholder 3"/>
          <p:cNvSpPr>
            <a:spLocks noGrp="1"/>
          </p:cNvSpPr>
          <p:nvPr>
            <p:ph type="ftr" sz="quarter" idx="11"/>
          </p:nvPr>
        </p:nvSpPr>
        <p:spPr>
          <a:xfrm>
            <a:off x="4038600" y="6402346"/>
            <a:ext cx="4114800" cy="365125"/>
          </a:xfrm>
        </p:spPr>
        <p:txBody>
          <a:bodyPr/>
          <a:lstStyle/>
          <a:p>
            <a:r>
              <a:rPr lang="en-US"/>
              <a:t>Copyright ©Texas Education Agency, 2020.  All rights reserved.</a:t>
            </a:r>
          </a:p>
        </p:txBody>
      </p:sp>
      <p:sp>
        <p:nvSpPr>
          <p:cNvPr id="5" name="Slide Number Placeholder 4"/>
          <p:cNvSpPr>
            <a:spLocks noGrp="1"/>
          </p:cNvSpPr>
          <p:nvPr>
            <p:ph type="sldNum" sz="quarter" idx="12"/>
          </p:nvPr>
        </p:nvSpPr>
        <p:spPr>
          <a:xfrm>
            <a:off x="9210675" y="6458696"/>
            <a:ext cx="2743200" cy="365125"/>
          </a:xfrm>
        </p:spPr>
        <p:txBody>
          <a:bodyPr/>
          <a:lstStyle/>
          <a:p>
            <a:fld id="{0088AB57-2DBE-44A3-AE96-942C49E954BF}" type="slidenum">
              <a:rPr lang="en-US" smtClean="0"/>
              <a:t>‹#›</a:t>
            </a:fld>
            <a:endParaRPr lang="en-US"/>
          </a:p>
        </p:txBody>
      </p:sp>
      <p:sp>
        <p:nvSpPr>
          <p:cNvPr id="11" name="Text Placeholder 10"/>
          <p:cNvSpPr>
            <a:spLocks noGrp="1"/>
          </p:cNvSpPr>
          <p:nvPr>
            <p:ph type="body" sz="quarter" idx="14"/>
          </p:nvPr>
        </p:nvSpPr>
        <p:spPr>
          <a:xfrm>
            <a:off x="2153653" y="1620838"/>
            <a:ext cx="9276346"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grpSp>
        <p:nvGrpSpPr>
          <p:cNvPr id="7" name="Group 6">
            <a:extLst>
              <a:ext uri="{FF2B5EF4-FFF2-40B4-BE49-F238E27FC236}">
                <a16:creationId xmlns:a16="http://schemas.microsoft.com/office/drawing/2014/main" id="{F1928168-49CC-4520-8C4B-5A4B53070834}"/>
              </a:ext>
            </a:extLst>
          </p:cNvPr>
          <p:cNvGrpSpPr/>
          <p:nvPr userDrawn="1"/>
        </p:nvGrpSpPr>
        <p:grpSpPr>
          <a:xfrm>
            <a:off x="10488859" y="838172"/>
            <a:ext cx="1531420" cy="1434182"/>
            <a:chOff x="10212087" y="1105219"/>
            <a:chExt cx="1531420" cy="1434182"/>
          </a:xfrm>
        </p:grpSpPr>
        <p:pic>
          <p:nvPicPr>
            <p:cNvPr id="8" name="Graphic 7" descr="Label">
              <a:extLst>
                <a:ext uri="{FF2B5EF4-FFF2-40B4-BE49-F238E27FC236}">
                  <a16:creationId xmlns:a16="http://schemas.microsoft.com/office/drawing/2014/main" id="{FB76A176-167D-4584-8819-66E30CF983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09325" y="1105219"/>
              <a:ext cx="1434182" cy="1434182"/>
            </a:xfrm>
            <a:prstGeom prst="rect">
              <a:avLst/>
            </a:prstGeom>
          </p:spPr>
        </p:pic>
        <p:sp>
          <p:nvSpPr>
            <p:cNvPr id="9" name="Hexagon 8">
              <a:extLst>
                <a:ext uri="{FF2B5EF4-FFF2-40B4-BE49-F238E27FC236}">
                  <a16:creationId xmlns:a16="http://schemas.microsoft.com/office/drawing/2014/main" id="{8D6CEBB3-7926-46F6-9038-73F64F9E73EB}"/>
                </a:ext>
              </a:extLst>
            </p:cNvPr>
            <p:cNvSpPr/>
            <p:nvPr/>
          </p:nvSpPr>
          <p:spPr>
            <a:xfrm>
              <a:off x="10212087" y="110899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DFDFD05C-B45B-4187-9427-022D95880AFF}"/>
              </a:ext>
            </a:extLst>
          </p:cNvPr>
          <p:cNvGrpSpPr/>
          <p:nvPr userDrawn="1"/>
        </p:nvGrpSpPr>
        <p:grpSpPr>
          <a:xfrm>
            <a:off x="9210675" y="88334"/>
            <a:ext cx="1505718" cy="1380122"/>
            <a:chOff x="8710729" y="364553"/>
            <a:chExt cx="1505718" cy="1380122"/>
          </a:xfrm>
        </p:grpSpPr>
        <p:pic>
          <p:nvPicPr>
            <p:cNvPr id="12" name="Graphic 11" descr="Sign">
              <a:extLst>
                <a:ext uri="{FF2B5EF4-FFF2-40B4-BE49-F238E27FC236}">
                  <a16:creationId xmlns:a16="http://schemas.microsoft.com/office/drawing/2014/main" id="{9E7C7379-4077-45F4-B0EB-05CA35B7E0A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96971" y="489327"/>
              <a:ext cx="1110491" cy="1110491"/>
            </a:xfrm>
            <a:prstGeom prst="rect">
              <a:avLst/>
            </a:prstGeom>
          </p:spPr>
        </p:pic>
        <p:sp>
          <p:nvSpPr>
            <p:cNvPr id="13" name="Hexagon 12">
              <a:extLst>
                <a:ext uri="{FF2B5EF4-FFF2-40B4-BE49-F238E27FC236}">
                  <a16:creationId xmlns:a16="http://schemas.microsoft.com/office/drawing/2014/main" id="{F2E029D7-5C3B-4061-9EA2-69205E494BBC}"/>
                </a:ext>
              </a:extLst>
            </p:cNvPr>
            <p:cNvSpPr/>
            <p:nvPr/>
          </p:nvSpPr>
          <p:spPr>
            <a:xfrm>
              <a:off x="8710729" y="36455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0080165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5389" y="295214"/>
            <a:ext cx="10181222" cy="751350"/>
          </a:xfrm>
        </p:spPr>
        <p:txBody>
          <a:bodyPr/>
          <a:lstStyle>
            <a:lvl1pPr algn="ctr">
              <a:defRPr/>
            </a:lvl1pPr>
          </a:lstStyle>
          <a:p>
            <a:r>
              <a:rPr lang="en-US"/>
              <a:t>Click to edit Master title style</a:t>
            </a:r>
          </a:p>
        </p:txBody>
      </p:sp>
      <p:sp>
        <p:nvSpPr>
          <p:cNvPr id="3" name="Date Placeholder 2"/>
          <p:cNvSpPr>
            <a:spLocks noGrp="1"/>
          </p:cNvSpPr>
          <p:nvPr>
            <p:ph type="dt" sz="half" idx="10"/>
          </p:nvPr>
        </p:nvSpPr>
        <p:spPr>
          <a:xfrm>
            <a:off x="238125" y="6420794"/>
            <a:ext cx="2743200" cy="365125"/>
          </a:xfrm>
        </p:spPr>
        <p:txBody>
          <a:bodyPr/>
          <a:lstStyle/>
          <a:p>
            <a:fld id="{2467F399-A317-43A8-96AE-17337FDF7B61}" type="datetime1">
              <a:rPr lang="en-US" smtClean="0"/>
              <a:t>3/20/2023</a:t>
            </a:fld>
            <a:endParaRPr lang="en-US"/>
          </a:p>
        </p:txBody>
      </p:sp>
      <p:sp>
        <p:nvSpPr>
          <p:cNvPr id="4" name="Footer Placeholder 3"/>
          <p:cNvSpPr>
            <a:spLocks noGrp="1"/>
          </p:cNvSpPr>
          <p:nvPr>
            <p:ph type="ftr" sz="quarter" idx="11"/>
          </p:nvPr>
        </p:nvSpPr>
        <p:spPr>
          <a:xfrm>
            <a:off x="4038600" y="6402346"/>
            <a:ext cx="4114800" cy="365125"/>
          </a:xfrm>
        </p:spPr>
        <p:txBody>
          <a:bodyPr/>
          <a:lstStyle/>
          <a:p>
            <a:r>
              <a:rPr lang="en-US"/>
              <a:t>Copyright ©Texas Education Agency, 2020.  All rights reserved.</a:t>
            </a:r>
          </a:p>
        </p:txBody>
      </p:sp>
      <p:sp>
        <p:nvSpPr>
          <p:cNvPr id="5" name="Slide Number Placeholder 4"/>
          <p:cNvSpPr>
            <a:spLocks noGrp="1"/>
          </p:cNvSpPr>
          <p:nvPr>
            <p:ph type="sldNum" sz="quarter" idx="12"/>
          </p:nvPr>
        </p:nvSpPr>
        <p:spPr>
          <a:xfrm>
            <a:off x="9210675" y="6458696"/>
            <a:ext cx="2743200" cy="365125"/>
          </a:xfrm>
        </p:spPr>
        <p:txBody>
          <a:bodyPr/>
          <a:lstStyle/>
          <a:p>
            <a:fld id="{0088AB57-2DBE-44A3-AE96-942C49E954BF}" type="slidenum">
              <a:rPr lang="en-US" smtClean="0"/>
              <a:t>‹#›</a:t>
            </a:fld>
            <a:endParaRPr lang="en-US"/>
          </a:p>
        </p:txBody>
      </p:sp>
      <p:sp>
        <p:nvSpPr>
          <p:cNvPr id="11" name="Text Placeholder 10"/>
          <p:cNvSpPr>
            <a:spLocks noGrp="1"/>
          </p:cNvSpPr>
          <p:nvPr>
            <p:ph type="body" sz="quarter" idx="14"/>
          </p:nvPr>
        </p:nvSpPr>
        <p:spPr>
          <a:xfrm>
            <a:off x="1457827" y="1644692"/>
            <a:ext cx="9276346" cy="4603750"/>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01304695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7A64600A-BB24-434B-ABD9-F6D61772C2C3}" type="datetime1">
              <a:rPr lang="en-US" smtClean="0"/>
              <a:t>3/20/2023</a:t>
            </a:fld>
            <a:endParaRPr lang="en-US"/>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r>
              <a:rPr lang="en-US"/>
              <a:t>Copyright ©Texas Education Agency, 2020.  All rights reserved.</a:t>
            </a:r>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00927671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6_Section Header">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26937D9F-E47E-4E2B-9270-0A25974F40B8}"/>
              </a:ext>
            </a:extLst>
          </p:cNvPr>
          <p:cNvPicPr>
            <a:picLocks noChangeAspect="1"/>
          </p:cNvPicPr>
          <p:nvPr/>
        </p:nvPicPr>
        <p:blipFill rotWithShape="1">
          <a:blip r:embed="rId2">
            <a:extLst>
              <a:ext uri="{28A0092B-C50C-407E-A947-70E740481C1C}">
                <a14:useLocalDpi xmlns:a14="http://schemas.microsoft.com/office/drawing/2010/main" val="0"/>
              </a:ext>
            </a:extLst>
          </a:blip>
          <a:srcRect t="28703"/>
          <a:stretch/>
        </p:blipFill>
        <p:spPr>
          <a:xfrm>
            <a:off x="0" y="1041991"/>
            <a:ext cx="12217429" cy="5816009"/>
          </a:xfrm>
          <a:prstGeom prst="rect">
            <a:avLst/>
          </a:prstGeom>
        </p:spPr>
      </p:pic>
      <p:sp>
        <p:nvSpPr>
          <p:cNvPr id="2" name="Title 1">
            <a:extLst>
              <a:ext uri="{FF2B5EF4-FFF2-40B4-BE49-F238E27FC236}">
                <a16:creationId xmlns:a16="http://schemas.microsoft.com/office/drawing/2014/main" id="{15EB3E0B-5575-44F7-B7B8-8BBBC9BBB1EB}"/>
              </a:ext>
            </a:extLst>
          </p:cNvPr>
          <p:cNvSpPr>
            <a:spLocks noGrp="1"/>
          </p:cNvSpPr>
          <p:nvPr>
            <p:ph type="title" hasCustomPrompt="1"/>
          </p:nvPr>
        </p:nvSpPr>
        <p:spPr>
          <a:xfrm>
            <a:off x="944266" y="3159807"/>
            <a:ext cx="10515600" cy="1070014"/>
          </a:xfrm>
          <a:solidFill>
            <a:schemeClr val="bg1">
              <a:alpha val="80000"/>
            </a:schemeClr>
          </a:solidFill>
        </p:spPr>
        <p:txBody>
          <a:bodyPr anchor="b">
            <a:normAutofit/>
          </a:bodyPr>
          <a:lstStyle>
            <a:lvl1pPr algn="ctr">
              <a:defRPr sz="5400">
                <a:solidFill>
                  <a:schemeClr val="accent1"/>
                </a:solidFill>
                <a:latin typeface="+mn-lt"/>
              </a:defRPr>
            </a:lvl1pPr>
          </a:lstStyle>
          <a:p>
            <a:r>
              <a:rPr lang="en-US"/>
              <a:t>Click to add section break</a:t>
            </a:r>
          </a:p>
        </p:txBody>
      </p:sp>
      <p:pic>
        <p:nvPicPr>
          <p:cNvPr id="10" name="Picture 9" descr="A close up of a sign&#10;&#10;Description automatically generated">
            <a:extLst>
              <a:ext uri="{FF2B5EF4-FFF2-40B4-BE49-F238E27FC236}">
                <a16:creationId xmlns:a16="http://schemas.microsoft.com/office/drawing/2014/main" id="{86DB028A-C535-46E4-874D-67DD558CDA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6729" y="91494"/>
            <a:ext cx="1658542" cy="663418"/>
          </a:xfrm>
          <a:prstGeom prst="rect">
            <a:avLst/>
          </a:prstGeom>
        </p:spPr>
      </p:pic>
    </p:spTree>
    <p:extLst>
      <p:ext uri="{BB962C8B-B14F-4D97-AF65-F5344CB8AC3E}">
        <p14:creationId xmlns:p14="http://schemas.microsoft.com/office/powerpoint/2010/main" val="9333516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032792-A36D-4354-A8ED-88A3AA4EF42D}"/>
              </a:ext>
            </a:extLst>
          </p:cNvPr>
          <p:cNvSpPr>
            <a:spLocks noGrp="1"/>
          </p:cNvSpPr>
          <p:nvPr>
            <p:ph type="dt" sz="half" idx="10"/>
          </p:nvPr>
        </p:nvSpPr>
        <p:spPr/>
        <p:txBody>
          <a:bodyPr/>
          <a:lstStyle/>
          <a:p>
            <a:fld id="{FA6A0AD2-53AF-4D84-8AC9-3DBC493F2F75}" type="datetimeFigureOut">
              <a:rPr lang="en-US" smtClean="0"/>
              <a:t>3/20/2023</a:t>
            </a:fld>
            <a:endParaRPr lang="en-US"/>
          </a:p>
        </p:txBody>
      </p:sp>
      <p:sp>
        <p:nvSpPr>
          <p:cNvPr id="3" name="Footer Placeholder 2">
            <a:extLst>
              <a:ext uri="{FF2B5EF4-FFF2-40B4-BE49-F238E27FC236}">
                <a16:creationId xmlns:a16="http://schemas.microsoft.com/office/drawing/2014/main" id="{0C023F20-ADD6-4D5A-9D36-A1DC143D3E0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D55EB77-DECA-4FDB-A420-2A45DFBF030F}"/>
              </a:ext>
            </a:extLst>
          </p:cNvPr>
          <p:cNvSpPr>
            <a:spLocks noGrp="1"/>
          </p:cNvSpPr>
          <p:nvPr>
            <p:ph type="sldNum" sz="quarter" idx="12"/>
          </p:nvPr>
        </p:nvSpPr>
        <p:spPr/>
        <p:txBody>
          <a:bodyPr/>
          <a:lstStyle/>
          <a:p>
            <a:fld id="{69C126A4-BD19-47E2-8A0E-0DE1B9D8C925}" type="slidenum">
              <a:rPr lang="en-US" smtClean="0"/>
              <a:t>‹#›</a:t>
            </a:fld>
            <a:endParaRPr lang="en-US"/>
          </a:p>
        </p:txBody>
      </p:sp>
      <p:sp>
        <p:nvSpPr>
          <p:cNvPr id="11" name="Rectangle 10">
            <a:extLst>
              <a:ext uri="{FF2B5EF4-FFF2-40B4-BE49-F238E27FC236}">
                <a16:creationId xmlns:a16="http://schemas.microsoft.com/office/drawing/2014/main" id="{8D1C16D0-0DB0-45CA-98E2-0270421EBB46}"/>
              </a:ext>
            </a:extLst>
          </p:cNvPr>
          <p:cNvSpPr/>
          <p:nvPr/>
        </p:nvSpPr>
        <p:spPr>
          <a:xfrm>
            <a:off x="1670858" y="1085850"/>
            <a:ext cx="10283018" cy="486838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6BC50C61-80C5-4084-ACAF-860886326751}"/>
              </a:ext>
            </a:extLst>
          </p:cNvPr>
          <p:cNvSpPr>
            <a:spLocks noGrp="1"/>
          </p:cNvSpPr>
          <p:nvPr>
            <p:ph type="body" sz="quarter" idx="14"/>
          </p:nvPr>
        </p:nvSpPr>
        <p:spPr>
          <a:xfrm>
            <a:off x="1936866" y="1189038"/>
            <a:ext cx="9909060" cy="4654550"/>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20">
            <a:extLst>
              <a:ext uri="{FF2B5EF4-FFF2-40B4-BE49-F238E27FC236}">
                <a16:creationId xmlns:a16="http://schemas.microsoft.com/office/drawing/2014/main" id="{AA122EF4-4AA4-4FEC-8969-E8431FCEA614}"/>
              </a:ext>
            </a:extLst>
          </p:cNvPr>
          <p:cNvSpPr>
            <a:spLocks noGrp="1"/>
          </p:cNvSpPr>
          <p:nvPr>
            <p:ph type="title"/>
          </p:nvPr>
        </p:nvSpPr>
        <p:spPr>
          <a:xfrm>
            <a:off x="371946" y="135282"/>
            <a:ext cx="11164188" cy="75135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98236597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cSld name="13_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1A2F7F88-665F-4263-95A4-8163153365BA}"/>
              </a:ext>
            </a:extLst>
          </p:cNvPr>
          <p:cNvPicPr>
            <a:picLocks noChangeAspect="1"/>
          </p:cNvPicPr>
          <p:nvPr/>
        </p:nvPicPr>
        <p:blipFill rotWithShape="1">
          <a:blip r:embed="rId2">
            <a:extLst>
              <a:ext uri="{28A0092B-C50C-407E-A947-70E740481C1C}">
                <a14:useLocalDpi xmlns:a14="http://schemas.microsoft.com/office/drawing/2010/main" val="0"/>
              </a:ext>
            </a:extLst>
          </a:blip>
          <a:srcRect t="11237" b="17466"/>
          <a:stretch/>
        </p:blipFill>
        <p:spPr>
          <a:xfrm>
            <a:off x="0" y="1041991"/>
            <a:ext cx="12217429" cy="5816009"/>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1366070" y="3300044"/>
            <a:ext cx="9459433" cy="1313828"/>
          </a:xfrm>
          <a:solidFill>
            <a:schemeClr val="accent1">
              <a:alpha val="80000"/>
            </a:schemeClr>
          </a:solidFill>
          <a:ln>
            <a:noFill/>
          </a:ln>
        </p:spPr>
        <p:txBody>
          <a:bodyPr anchor="b"/>
          <a:lstStyle>
            <a:lvl1pPr algn="ctr">
              <a:defRPr sz="6000">
                <a:solidFill>
                  <a:schemeClr val="bg1"/>
                </a:solidFill>
                <a:latin typeface="+mn-lt"/>
              </a:defRPr>
            </a:lvl1pPr>
          </a:lstStyle>
          <a:p>
            <a:r>
              <a:rPr lang="en-US"/>
              <a:t>Click to edit Master title style</a:t>
            </a:r>
          </a:p>
        </p:txBody>
      </p:sp>
      <p:sp>
        <p:nvSpPr>
          <p:cNvPr id="3" name="Subtitle 2">
            <a:extLst>
              <a:ext uri="{FF2B5EF4-FFF2-40B4-BE49-F238E27FC236}">
                <a16:creationId xmlns:a16="http://schemas.microsoft.com/office/drawing/2014/main" id="{556A7D4E-1763-4961-A431-59D6643E6FEA}"/>
              </a:ext>
            </a:extLst>
          </p:cNvPr>
          <p:cNvSpPr>
            <a:spLocks noGrp="1"/>
          </p:cNvSpPr>
          <p:nvPr>
            <p:ph type="subTitle" idx="1" hasCustomPrompt="1"/>
          </p:nvPr>
        </p:nvSpPr>
        <p:spPr>
          <a:xfrm>
            <a:off x="1366071" y="4613872"/>
            <a:ext cx="9459432" cy="484187"/>
          </a:xfrm>
          <a:prstGeom prst="rect">
            <a:avLst/>
          </a:prstGeom>
          <a:solidFill>
            <a:schemeClr val="accent1">
              <a:alpha val="80000"/>
            </a:schemeClr>
          </a:solidFill>
          <a:ln>
            <a:noFill/>
          </a:ln>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Office name</a:t>
            </a:r>
          </a:p>
        </p:txBody>
      </p:sp>
      <p:pic>
        <p:nvPicPr>
          <p:cNvPr id="11" name="Picture 10" descr="A close up of a sign&#10;&#10;Description automatically generated">
            <a:extLst>
              <a:ext uri="{FF2B5EF4-FFF2-40B4-BE49-F238E27FC236}">
                <a16:creationId xmlns:a16="http://schemas.microsoft.com/office/drawing/2014/main" id="{421BA4A3-73CD-49F8-9BAA-D372478A5E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6729" y="91494"/>
            <a:ext cx="1658542" cy="663418"/>
          </a:xfrm>
          <a:prstGeom prst="rect">
            <a:avLst/>
          </a:prstGeom>
        </p:spPr>
      </p:pic>
    </p:spTree>
    <p:extLst>
      <p:ext uri="{BB962C8B-B14F-4D97-AF65-F5344CB8AC3E}">
        <p14:creationId xmlns:p14="http://schemas.microsoft.com/office/powerpoint/2010/main" val="410925265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2E8D98-1746-4E42-84C3-9D1EB7761B3F}" type="datetime1">
              <a:rPr lang="en-US" smtClean="0"/>
              <a:t>3/20/2023</a:t>
            </a:fld>
            <a:endParaRPr lang="en-US"/>
          </a:p>
        </p:txBody>
      </p:sp>
      <p:sp>
        <p:nvSpPr>
          <p:cNvPr id="3" name="Footer Placeholder 2"/>
          <p:cNvSpPr>
            <a:spLocks noGrp="1"/>
          </p:cNvSpPr>
          <p:nvPr>
            <p:ph type="ftr" sz="quarter" idx="11"/>
          </p:nvPr>
        </p:nvSpPr>
        <p:spPr/>
        <p:txBody>
          <a:bodyPr/>
          <a:lstStyle/>
          <a:p>
            <a:r>
              <a:rPr lang="en-US"/>
              <a:t>Copyright ©Texas Education Agency, 2020.  All rights reserved.</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32859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8C4079B5-6E78-40CC-933D-7055C62C03DA}" type="datetimeFigureOut">
              <a:rPr lang="en-US" smtClean="0"/>
              <a:t>3/20/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9097086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cSld name="Bullet List 2-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7561" y="111796"/>
            <a:ext cx="9574714" cy="737937"/>
          </a:xfrm>
        </p:spPr>
        <p:txBody>
          <a:bodyPr/>
          <a:lstStyle>
            <a:lvl1pPr>
              <a:defRPr>
                <a:solidFill>
                  <a:schemeClr val="bg1"/>
                </a:solidFill>
              </a:defRPr>
            </a:lvl1pPr>
          </a:lstStyle>
          <a:p>
            <a:r>
              <a:rPr lang="en-US"/>
              <a:t>Click to add header</a:t>
            </a:r>
          </a:p>
        </p:txBody>
      </p:sp>
      <p:sp>
        <p:nvSpPr>
          <p:cNvPr id="7" name="Date Placeholder 6"/>
          <p:cNvSpPr>
            <a:spLocks noGrp="1"/>
          </p:cNvSpPr>
          <p:nvPr>
            <p:ph type="dt" sz="half" idx="10"/>
          </p:nvPr>
        </p:nvSpPr>
        <p:spPr/>
        <p:txBody>
          <a:bodyPr/>
          <a:lstStyle/>
          <a:p>
            <a:fld id="{174F8A09-AAB9-4107-9C6B-D3898220E5D8}" type="datetime1">
              <a:rPr lang="en-US" smtClean="0"/>
              <a:t>3/20/2023</a:t>
            </a:fld>
            <a:endParaRPr lang="en-US"/>
          </a:p>
        </p:txBody>
      </p:sp>
      <p:sp>
        <p:nvSpPr>
          <p:cNvPr id="8" name="Footer Placeholder 7"/>
          <p:cNvSpPr>
            <a:spLocks noGrp="1"/>
          </p:cNvSpPr>
          <p:nvPr>
            <p:ph type="ftr" sz="quarter" idx="11"/>
          </p:nvPr>
        </p:nvSpPr>
        <p:spPr/>
        <p:txBody>
          <a:bodyPr/>
          <a:lstStyle/>
          <a:p>
            <a:r>
              <a:rPr lang="en-US"/>
              <a:t>Presentation Best Practices | TEA</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a:prstGeom prst="rect">
            <a:avLst/>
          </a:prstGeom>
        </p:spPr>
        <p:txBody>
          <a:bodyPr/>
          <a:lstStyle>
            <a:lvl1pPr marL="0" indent="0">
              <a:buClr>
                <a:schemeClr val="bg2"/>
              </a:buClr>
              <a:buFont typeface="Wingdings" panose="05000000000000000000" pitchFamily="2" charset="2"/>
              <a:buNone/>
              <a:defRPr b="1">
                <a:latin typeface="Calibri" panose="020F0502020204030204" pitchFamily="34" charset="0"/>
                <a:cs typeface="Calibri" panose="020F0502020204030204" pitchFamily="34" charset="0"/>
              </a:defRPr>
            </a:lvl1pPr>
            <a:lvl2pPr marL="685800" indent="-228600">
              <a:buClr>
                <a:schemeClr val="bg2"/>
              </a:buClr>
              <a:buFont typeface="Wingdings" panose="05000000000000000000" pitchFamily="2" charset="2"/>
              <a:buChar char="§"/>
              <a:defRPr>
                <a:latin typeface="Calibri" panose="020F0502020204030204" pitchFamily="34" charset="0"/>
                <a:cs typeface="Calibri" panose="020F0502020204030204" pitchFamily="34" charset="0"/>
              </a:defRPr>
            </a:lvl2pPr>
            <a:lvl3pPr marL="1143000" indent="-228600">
              <a:buClr>
                <a:schemeClr val="bg2"/>
              </a:buClr>
              <a:buFont typeface="Arial" panose="020B0604020202020204" pitchFamily="34" charset="0"/>
              <a:buChar char="•"/>
              <a:defRPr>
                <a:latin typeface="Calibri" panose="020F0502020204030204" pitchFamily="34" charset="0"/>
                <a:cs typeface="Calibri" panose="020F0502020204030204" pitchFamily="34" charset="0"/>
              </a:defRPr>
            </a:lvl3pPr>
            <a:lvl4pPr marL="1600200" indent="-228600">
              <a:buClr>
                <a:schemeClr val="bg2"/>
              </a:buClr>
              <a:buSzPct val="65000"/>
              <a:buFont typeface="Courier New" panose="02070309020205020404" pitchFamily="49" charset="0"/>
              <a:buChar char="o"/>
              <a:defRPr>
                <a:latin typeface="+mj-lt"/>
                <a:cs typeface="Calibri" panose="020F0502020204030204" pitchFamily="34" charset="0"/>
              </a:defRPr>
            </a:lvl4pPr>
            <a:lvl5pPr marL="2057400" indent="-228600">
              <a:buClr>
                <a:schemeClr val="bg2"/>
              </a:buClr>
              <a:buFont typeface="Wingdings" panose="05000000000000000000" pitchFamily="2" charset="2"/>
              <a:buChar cha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a:prstGeom prst="rect">
            <a:avLst/>
          </a:prstGeom>
        </p:spPr>
        <p:txBody>
          <a:bodyPr/>
          <a:lstStyle>
            <a:lvl1pPr marL="0" indent="0">
              <a:buClr>
                <a:schemeClr val="bg2"/>
              </a:buClr>
              <a:buFont typeface="Wingdings" panose="05000000000000000000" pitchFamily="2" charset="2"/>
              <a:buNone/>
              <a:defRPr b="1">
                <a:latin typeface="Calibri" panose="020F0502020204030204" pitchFamily="34" charset="0"/>
                <a:cs typeface="Calibri" panose="020F0502020204030204" pitchFamily="34" charset="0"/>
              </a:defRPr>
            </a:lvl1pPr>
            <a:lvl2pPr marL="685800" indent="-228600">
              <a:buClr>
                <a:schemeClr val="bg2"/>
              </a:buClr>
              <a:buFont typeface="Wingdings" panose="05000000000000000000" pitchFamily="2" charset="2"/>
              <a:buChar char="§"/>
              <a:defRPr>
                <a:latin typeface="Calibri" panose="020F0502020204030204" pitchFamily="34" charset="0"/>
                <a:cs typeface="Calibri" panose="020F0502020204030204" pitchFamily="34" charset="0"/>
              </a:defRPr>
            </a:lvl2pPr>
            <a:lvl3pPr marL="1143000" indent="-228600">
              <a:buClr>
                <a:schemeClr val="bg2"/>
              </a:buClr>
              <a:buSzPct val="100000"/>
              <a:buFont typeface="Arial" panose="020B0604020202020204" pitchFamily="34" charset="0"/>
              <a:buChar char="•"/>
              <a:defRPr>
                <a:latin typeface="Calibri" panose="020F0502020204030204" pitchFamily="34" charset="0"/>
                <a:cs typeface="Calibri" panose="020F0502020204030204" pitchFamily="34" charset="0"/>
              </a:defRPr>
            </a:lvl3pPr>
            <a:lvl4pPr marL="1600200" indent="-228600">
              <a:buClr>
                <a:schemeClr val="bg2"/>
              </a:buClr>
              <a:buSzPct val="65000"/>
              <a:buFont typeface="Courier New" panose="02070309020205020404" pitchFamily="49" charset="0"/>
              <a:buChar char="o"/>
              <a:defRPr>
                <a:latin typeface="+mj-lt"/>
                <a:cs typeface="Calibri" panose="020F0502020204030204" pitchFamily="34" charset="0"/>
              </a:defRPr>
            </a:lvl4pPr>
            <a:lvl5pPr marL="2057400" indent="-228600">
              <a:buClr>
                <a:schemeClr val="bg2"/>
              </a:buClr>
              <a:buFont typeface="Wingdings" panose="05000000000000000000" pitchFamily="2" charset="2"/>
              <a:buChar char="§"/>
              <a:defRPr b="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95921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5B1F93-40E3-49CD-98D2-1C2C40BE456C}"/>
              </a:ext>
            </a:extLst>
          </p:cNvPr>
          <p:cNvGraphicFramePr>
            <a:graphicFrameLocks noChangeAspect="1"/>
          </p:cNvGraphicFramePr>
          <p:nvPr userDrawn="1">
            <p:custDataLst>
              <p:tags r:id="rId1"/>
            </p:custDataLst>
          </p:nvPr>
        </p:nvGraphicFramePr>
        <p:xfrm>
          <a:off x="1955" y="1590"/>
          <a:ext cx="1954"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15B1F93-40E3-49CD-98D2-1C2C40BE456C}"/>
                          </a:ext>
                        </a:extLst>
                      </p:cNvPr>
                      <p:cNvPicPr/>
                      <p:nvPr/>
                    </p:nvPicPr>
                    <p:blipFill>
                      <a:blip r:embed="rId4"/>
                      <a:stretch>
                        <a:fillRect/>
                      </a:stretch>
                    </p:blipFill>
                    <p:spPr>
                      <a:xfrm>
                        <a:off x="1955" y="1590"/>
                        <a:ext cx="1954"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715940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3/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25101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160"/>
        <p:cNvGrpSpPr/>
        <p:nvPr/>
      </p:nvGrpSpPr>
      <p:grpSpPr>
        <a:xfrm>
          <a:off x="0" y="0"/>
          <a:ext cx="0" cy="0"/>
          <a:chOff x="0" y="0"/>
          <a:chExt cx="0" cy="0"/>
        </a:xfrm>
      </p:grpSpPr>
      <p:sp>
        <p:nvSpPr>
          <p:cNvPr id="161" name="Google Shape;161;p21"/>
          <p:cNvSpPr txBox="1">
            <a:spLocks noGrp="1"/>
          </p:cNvSpPr>
          <p:nvPr>
            <p:ph type="body" idx="1"/>
          </p:nvPr>
        </p:nvSpPr>
        <p:spPr>
          <a:xfrm>
            <a:off x="562707" y="1508400"/>
            <a:ext cx="11068062" cy="4590000"/>
          </a:xfrm>
          <a:prstGeom prst="rect">
            <a:avLst/>
          </a:prstGeom>
          <a:noFill/>
          <a:ln>
            <a:noFill/>
          </a:ln>
        </p:spPr>
        <p:txBody>
          <a:bodyPr spcFirstLastPara="1" wrap="square" lIns="91425" tIns="45700" rIns="91425" bIns="45700" anchor="t" anchorCtr="0"/>
          <a:lstStyle>
            <a:lvl1pPr marL="457200" lvl="0" indent="-406400" algn="l">
              <a:lnSpc>
                <a:spcPct val="90000"/>
              </a:lnSpc>
              <a:spcBef>
                <a:spcPts val="1000"/>
              </a:spcBef>
              <a:spcAft>
                <a:spcPts val="0"/>
              </a:spcAft>
              <a:buClr>
                <a:srgbClr val="000000"/>
              </a:buClr>
              <a:buSzPts val="2800"/>
              <a:buChar char="•"/>
              <a:defRPr>
                <a:solidFill>
                  <a:srgbClr val="000000"/>
                </a:solidFill>
              </a:defRPr>
            </a:lvl1pPr>
            <a:lvl2pPr marL="914400" lvl="1" indent="-381000" algn="l">
              <a:lnSpc>
                <a:spcPct val="90000"/>
              </a:lnSpc>
              <a:spcBef>
                <a:spcPts val="500"/>
              </a:spcBef>
              <a:spcAft>
                <a:spcPts val="0"/>
              </a:spcAft>
              <a:buClr>
                <a:srgbClr val="000000"/>
              </a:buClr>
              <a:buSzPts val="2400"/>
              <a:buChar char="•"/>
              <a:defRPr>
                <a:solidFill>
                  <a:srgbClr val="000000"/>
                </a:solidFill>
              </a:defRPr>
            </a:lvl2pPr>
            <a:lvl3pPr marL="1371600" lvl="2" indent="-355600" algn="l">
              <a:lnSpc>
                <a:spcPct val="90000"/>
              </a:lnSpc>
              <a:spcBef>
                <a:spcPts val="500"/>
              </a:spcBef>
              <a:spcAft>
                <a:spcPts val="0"/>
              </a:spcAft>
              <a:buClr>
                <a:srgbClr val="000000"/>
              </a:buClr>
              <a:buSzPts val="2000"/>
              <a:buChar char="•"/>
              <a:defRPr>
                <a:solidFill>
                  <a:srgbClr val="000000"/>
                </a:solidFill>
              </a:defRPr>
            </a:lvl3pPr>
            <a:lvl4pPr marL="1828800" lvl="3" indent="-342900" algn="l">
              <a:lnSpc>
                <a:spcPct val="90000"/>
              </a:lnSpc>
              <a:spcBef>
                <a:spcPts val="500"/>
              </a:spcBef>
              <a:spcAft>
                <a:spcPts val="0"/>
              </a:spcAft>
              <a:buClr>
                <a:srgbClr val="000000"/>
              </a:buClr>
              <a:buSzPts val="1800"/>
              <a:buChar char="•"/>
              <a:defRPr>
                <a:solidFill>
                  <a:srgbClr val="000000"/>
                </a:solidFill>
              </a:defRPr>
            </a:lvl4pPr>
            <a:lvl5pPr marL="2286000" lvl="4" indent="-342900" algn="l">
              <a:lnSpc>
                <a:spcPct val="90000"/>
              </a:lnSpc>
              <a:spcBef>
                <a:spcPts val="500"/>
              </a:spcBef>
              <a:spcAft>
                <a:spcPts val="0"/>
              </a:spcAft>
              <a:buClr>
                <a:srgbClr val="000000"/>
              </a:buClr>
              <a:buSzPts val="1800"/>
              <a:buChar char="•"/>
              <a:defRPr>
                <a:solidFill>
                  <a:srgbClr val="000000"/>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 name="Google Shape;162;p21"/>
          <p:cNvSpPr txBox="1">
            <a:spLocks noGrp="1"/>
          </p:cNvSpPr>
          <p:nvPr>
            <p:ph type="title"/>
          </p:nvPr>
        </p:nvSpPr>
        <p:spPr>
          <a:xfrm>
            <a:off x="1755912" y="243951"/>
            <a:ext cx="9597887" cy="710206"/>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rgbClr val="3C6EBE"/>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14844490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0D850C-B748-4F74-8169-D0FA3CF1AFBC}" type="datetime1">
              <a:rPr lang="en-US" smtClean="0"/>
              <a:t>3/20/2023</a:t>
            </a:fld>
            <a:endParaRPr lang="en-US"/>
          </a:p>
        </p:txBody>
      </p:sp>
      <p:sp>
        <p:nvSpPr>
          <p:cNvPr id="4" name="Footer Placeholder 3"/>
          <p:cNvSpPr>
            <a:spLocks noGrp="1"/>
          </p:cNvSpPr>
          <p:nvPr>
            <p:ph type="ftr" sz="quarter" idx="11"/>
          </p:nvPr>
        </p:nvSpPr>
        <p:spPr/>
        <p:txBody>
          <a:bodyPr/>
          <a:lstStyle/>
          <a:p>
            <a:r>
              <a:rPr lang="en-US"/>
              <a:t>Copyright ©Texas Education Agency, 2020.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8637031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DF03A32-678C-4038-A629-27A4428ED451}" type="datetime1">
              <a:rPr lang="en-US" smtClean="0"/>
              <a:t>3/20/2023</a:t>
            </a:fld>
            <a:endParaRPr lang="en-US"/>
          </a:p>
        </p:txBody>
      </p:sp>
      <p:sp>
        <p:nvSpPr>
          <p:cNvPr id="5" name="Footer Placeholder 4"/>
          <p:cNvSpPr>
            <a:spLocks noGrp="1"/>
          </p:cNvSpPr>
          <p:nvPr>
            <p:ph type="ftr" sz="quarter" idx="11"/>
          </p:nvPr>
        </p:nvSpPr>
        <p:spPr/>
        <p:txBody>
          <a:bodyPr/>
          <a:lstStyle/>
          <a:p>
            <a:r>
              <a:rPr lang="en-US"/>
              <a:t>© 2021, Texas Education Agency.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116217765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93CB56E-30AF-4406-8C5C-F220D3F6B4F1}" type="datetime1">
              <a:rPr lang="en-US" smtClean="0"/>
              <a:t>3/20/2023</a:t>
            </a:fld>
            <a:endParaRPr lang="en-US"/>
          </a:p>
        </p:txBody>
      </p:sp>
      <p:sp>
        <p:nvSpPr>
          <p:cNvPr id="5" name="Footer Placeholder 4"/>
          <p:cNvSpPr>
            <a:spLocks noGrp="1"/>
          </p:cNvSpPr>
          <p:nvPr>
            <p:ph type="ftr" sz="quarter" idx="11"/>
          </p:nvPr>
        </p:nvSpPr>
        <p:spPr/>
        <p:txBody>
          <a:bodyPr/>
          <a:lstStyle/>
          <a:p>
            <a:r>
              <a:rPr lang="en-US"/>
              <a:t>© 2021, Texas Education Agency.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95574852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7C7436D1-A6F7-4D54-A218-92583A326DF3}" type="datetime1">
              <a:rPr lang="en-US" smtClean="0"/>
              <a:t>3/20/2023</a:t>
            </a:fld>
            <a:endParaRPr lang="en-US"/>
          </a:p>
        </p:txBody>
      </p:sp>
      <p:sp>
        <p:nvSpPr>
          <p:cNvPr id="6" name="Footer Placeholder 5"/>
          <p:cNvSpPr>
            <a:spLocks noGrp="1"/>
          </p:cNvSpPr>
          <p:nvPr>
            <p:ph type="ftr" sz="quarter" idx="11"/>
          </p:nvPr>
        </p:nvSpPr>
        <p:spPr/>
        <p:txBody>
          <a:bodyPr/>
          <a:lstStyle/>
          <a:p>
            <a:r>
              <a:rPr lang="en-US"/>
              <a:t>© 2021, Texas Education Agency. All Rights Reserved.</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344861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30DAAC80-66E2-4D06-B102-CE5488F62877}" type="datetime1">
              <a:rPr lang="en-US" smtClean="0"/>
              <a:t>3/20/2023</a:t>
            </a:fld>
            <a:endParaRPr lang="en-US"/>
          </a:p>
        </p:txBody>
      </p:sp>
      <p:sp>
        <p:nvSpPr>
          <p:cNvPr id="5" name="Footer Placeholder 4"/>
          <p:cNvSpPr>
            <a:spLocks noGrp="1"/>
          </p:cNvSpPr>
          <p:nvPr>
            <p:ph type="ftr" sz="quarter" idx="11"/>
          </p:nvPr>
        </p:nvSpPr>
        <p:spPr/>
        <p:txBody>
          <a:bodyPr/>
          <a:lstStyle/>
          <a:p>
            <a:r>
              <a:rPr lang="en-US"/>
              <a:t>© 2021, Texas Education Agency.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737145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B0FC94B1-D0F0-49E6-A913-73426055CBD9}" type="datetime1">
              <a:rPr lang="en-US" smtClean="0"/>
              <a:t>3/20/2023</a:t>
            </a:fld>
            <a:endParaRPr lang="en-US"/>
          </a:p>
        </p:txBody>
      </p:sp>
      <p:sp>
        <p:nvSpPr>
          <p:cNvPr id="8" name="Footer Placeholder 7"/>
          <p:cNvSpPr>
            <a:spLocks noGrp="1"/>
          </p:cNvSpPr>
          <p:nvPr>
            <p:ph type="ftr" sz="quarter" idx="11"/>
          </p:nvPr>
        </p:nvSpPr>
        <p:spPr/>
        <p:txBody>
          <a:bodyPr/>
          <a:lstStyle/>
          <a:p>
            <a:r>
              <a:rPr lang="en-US"/>
              <a:t>© 2021, Texas Education Agency. All Rights Reserved.</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0328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2778518"/>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CAD9A1C-0CBF-48D0-A903-CA03F589309A}" type="datetime1">
              <a:rPr lang="en-US" smtClean="0"/>
              <a:t>3/20/2023</a:t>
            </a:fld>
            <a:endParaRPr lang="en-US"/>
          </a:p>
        </p:txBody>
      </p:sp>
      <p:sp>
        <p:nvSpPr>
          <p:cNvPr id="4" name="Footer Placeholder 3"/>
          <p:cNvSpPr>
            <a:spLocks noGrp="1"/>
          </p:cNvSpPr>
          <p:nvPr>
            <p:ph type="ftr" sz="quarter" idx="11"/>
          </p:nvPr>
        </p:nvSpPr>
        <p:spPr/>
        <p:txBody>
          <a:bodyPr/>
          <a:lstStyle/>
          <a:p>
            <a:r>
              <a:rPr lang="en-US"/>
              <a:t>© 2021, Texas Education Agency.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84455893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5599C88-F39D-4081-8591-440F9A26F986}" type="datetime1">
              <a:rPr lang="en-US" smtClean="0"/>
              <a:t>3/20/2023</a:t>
            </a:fld>
            <a:endParaRPr lang="en-US"/>
          </a:p>
        </p:txBody>
      </p:sp>
      <p:sp>
        <p:nvSpPr>
          <p:cNvPr id="4" name="Footer Placeholder 3"/>
          <p:cNvSpPr>
            <a:spLocks noGrp="1"/>
          </p:cNvSpPr>
          <p:nvPr>
            <p:ph type="ftr" sz="quarter" idx="11"/>
          </p:nvPr>
        </p:nvSpPr>
        <p:spPr/>
        <p:txBody>
          <a:bodyPr/>
          <a:lstStyle/>
          <a:p>
            <a:r>
              <a:rPr lang="en-US"/>
              <a:t>© 2021, Texas Education Agency.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67228441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E78D74-FD2E-4E96-81CF-833D4EF6122A}" type="datetime1">
              <a:rPr lang="en-US" smtClean="0"/>
              <a:t>3/20/2023</a:t>
            </a:fld>
            <a:endParaRPr lang="en-US"/>
          </a:p>
        </p:txBody>
      </p:sp>
      <p:sp>
        <p:nvSpPr>
          <p:cNvPr id="4" name="Footer Placeholder 3"/>
          <p:cNvSpPr>
            <a:spLocks noGrp="1"/>
          </p:cNvSpPr>
          <p:nvPr>
            <p:ph type="ftr" sz="quarter" idx="11"/>
          </p:nvPr>
        </p:nvSpPr>
        <p:spPr/>
        <p:txBody>
          <a:bodyPr/>
          <a:lstStyle/>
          <a:p>
            <a:r>
              <a:rPr lang="en-US"/>
              <a:t>© 2021, Texas Education Agency.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60593541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CFA04BE-8AE7-4844-BFE7-CAE361C63B61}" type="datetime1">
              <a:rPr lang="en-US" smtClean="0"/>
              <a:t>3/20/2023</a:t>
            </a:fld>
            <a:endParaRPr lang="en-US"/>
          </a:p>
        </p:txBody>
      </p:sp>
      <p:sp>
        <p:nvSpPr>
          <p:cNvPr id="4" name="Footer Placeholder 3"/>
          <p:cNvSpPr>
            <a:spLocks noGrp="1"/>
          </p:cNvSpPr>
          <p:nvPr>
            <p:ph type="ftr" sz="quarter" idx="11"/>
          </p:nvPr>
        </p:nvSpPr>
        <p:spPr/>
        <p:txBody>
          <a:bodyPr/>
          <a:lstStyle/>
          <a:p>
            <a:r>
              <a:rPr lang="en-US"/>
              <a:t>© 2021, Texas Education Agency.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85687199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5B9A862-ED4A-462F-96B1-86367D2B1D9E}" type="datetime1">
              <a:rPr lang="en-US" smtClean="0"/>
              <a:t>3/20/2023</a:t>
            </a:fld>
            <a:endParaRPr lang="en-US"/>
          </a:p>
        </p:txBody>
      </p:sp>
      <p:sp>
        <p:nvSpPr>
          <p:cNvPr id="4" name="Footer Placeholder 3"/>
          <p:cNvSpPr>
            <a:spLocks noGrp="1"/>
          </p:cNvSpPr>
          <p:nvPr>
            <p:ph type="ftr" sz="quarter" idx="11"/>
          </p:nvPr>
        </p:nvSpPr>
        <p:spPr/>
        <p:txBody>
          <a:bodyPr/>
          <a:lstStyle/>
          <a:p>
            <a:r>
              <a:rPr lang="en-US"/>
              <a:t>© 2021, Texas Education Agency.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371307402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5F70F658-8566-49B2-A394-C9D2750A2117}" type="datetime1">
              <a:rPr lang="en-US" smtClean="0"/>
              <a:t>3/20/2023</a:t>
            </a:fld>
            <a:endParaRPr lang="en-US"/>
          </a:p>
        </p:txBody>
      </p:sp>
      <p:sp>
        <p:nvSpPr>
          <p:cNvPr id="8" name="Footer Placeholder 7"/>
          <p:cNvSpPr>
            <a:spLocks noGrp="1"/>
          </p:cNvSpPr>
          <p:nvPr>
            <p:ph type="ftr" sz="quarter" idx="11"/>
          </p:nvPr>
        </p:nvSpPr>
        <p:spPr/>
        <p:txBody>
          <a:bodyPr/>
          <a:lstStyle/>
          <a:p>
            <a:r>
              <a:rPr lang="en-US"/>
              <a:t>© 2021, Texas Education Agency. All Rights Reserved.</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Tree>
    <p:extLst>
      <p:ext uri="{BB962C8B-B14F-4D97-AF65-F5344CB8AC3E}">
        <p14:creationId xmlns:p14="http://schemas.microsoft.com/office/powerpoint/2010/main" val="230339326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364C9822-247C-49DF-A69E-C6F578968B52}" type="datetime1">
              <a:rPr lang="en-US" smtClean="0"/>
              <a:t>3/20/2023</a:t>
            </a:fld>
            <a:endParaRPr lang="en-US"/>
          </a:p>
        </p:txBody>
      </p:sp>
      <p:sp>
        <p:nvSpPr>
          <p:cNvPr id="8" name="Footer Placeholder 7"/>
          <p:cNvSpPr>
            <a:spLocks noGrp="1"/>
          </p:cNvSpPr>
          <p:nvPr>
            <p:ph type="ftr" sz="quarter" idx="11"/>
          </p:nvPr>
        </p:nvSpPr>
        <p:spPr/>
        <p:txBody>
          <a:bodyPr/>
          <a:lstStyle/>
          <a:p>
            <a:r>
              <a:rPr lang="en-US"/>
              <a:t>© 2021, Texas Education Agency. All Rights Reserved.</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71412484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45271DBA-0264-449B-A44F-2469046A7177}" type="datetime1">
              <a:rPr lang="en-US" smtClean="0"/>
              <a:t>3/20/2023</a:t>
            </a:fld>
            <a:endParaRPr lang="en-US"/>
          </a:p>
        </p:txBody>
      </p:sp>
      <p:sp>
        <p:nvSpPr>
          <p:cNvPr id="8" name="Footer Placeholder 7"/>
          <p:cNvSpPr>
            <a:spLocks noGrp="1"/>
          </p:cNvSpPr>
          <p:nvPr>
            <p:ph type="ftr" sz="quarter" idx="11"/>
          </p:nvPr>
        </p:nvSpPr>
        <p:spPr/>
        <p:txBody>
          <a:bodyPr/>
          <a:lstStyle/>
          <a:p>
            <a:r>
              <a:rPr lang="en-US"/>
              <a:t>© 2021, Texas Education Agency. All Rights Reserved.</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277177086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C01DEC-D9D2-4658-973E-B672DDA8D98F}" type="datetime1">
              <a:rPr lang="en-US" smtClean="0"/>
              <a:t>3/20/2023</a:t>
            </a:fld>
            <a:endParaRPr lang="en-US"/>
          </a:p>
        </p:txBody>
      </p:sp>
      <p:sp>
        <p:nvSpPr>
          <p:cNvPr id="3" name="Footer Placeholder 2"/>
          <p:cNvSpPr>
            <a:spLocks noGrp="1"/>
          </p:cNvSpPr>
          <p:nvPr>
            <p:ph type="ftr" sz="quarter" idx="11"/>
          </p:nvPr>
        </p:nvSpPr>
        <p:spPr/>
        <p:txBody>
          <a:bodyPr/>
          <a:lstStyle/>
          <a:p>
            <a:r>
              <a:rPr lang="en-US"/>
              <a:t>© 2021, Texas Education Agency. All Rights Reserved.</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10496988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BDF773EE-3A9C-4CE4-BFA9-D8A70237D2EC}" type="datetime1">
              <a:rPr lang="en-US" smtClean="0"/>
              <a:t>3/20/2023</a:t>
            </a:fld>
            <a:endParaRPr lang="en-US"/>
          </a:p>
        </p:txBody>
      </p:sp>
      <p:sp>
        <p:nvSpPr>
          <p:cNvPr id="5" name="Footer Placeholder 4"/>
          <p:cNvSpPr>
            <a:spLocks noGrp="1"/>
          </p:cNvSpPr>
          <p:nvPr>
            <p:ph type="ftr" sz="quarter" idx="11"/>
          </p:nvPr>
        </p:nvSpPr>
        <p:spPr/>
        <p:txBody>
          <a:bodyPr/>
          <a:lstStyle/>
          <a:p>
            <a:r>
              <a:rPr lang="en-US"/>
              <a:t>© 2021, Texas Education Agency.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
        <p:nvSpPr>
          <p:cNvPr id="8" name="Picture Placeholder 7"/>
          <p:cNvSpPr>
            <a:spLocks noGrp="1"/>
          </p:cNvSpPr>
          <p:nvPr>
            <p:ph type="pic" sz="quarter" idx="13"/>
          </p:nvPr>
        </p:nvSpPr>
        <p:spPr>
          <a:xfrm>
            <a:off x="0" y="1257300"/>
            <a:ext cx="12192000" cy="5600700"/>
          </a:xfrm>
          <a:prstGeom prst="rect">
            <a:avLst/>
          </a:prstGeom>
        </p:spPr>
        <p:txBody>
          <a:bodyPr/>
          <a:lstStyle/>
          <a:p>
            <a:endParaRPr lang="en-US"/>
          </a:p>
        </p:txBody>
      </p:sp>
    </p:spTree>
    <p:extLst>
      <p:ext uri="{BB962C8B-B14F-4D97-AF65-F5344CB8AC3E}">
        <p14:creationId xmlns:p14="http://schemas.microsoft.com/office/powerpoint/2010/main" val="17277109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3747144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73AD2294-B90B-4232-9072-CCDFB0AE824C}" type="datetime1">
              <a:rPr lang="en-US" smtClean="0"/>
              <a:t>3/20/2023</a:t>
            </a:fld>
            <a:endParaRPr lang="en-US"/>
          </a:p>
        </p:txBody>
      </p:sp>
      <p:sp>
        <p:nvSpPr>
          <p:cNvPr id="6" name="Footer Placeholder 5"/>
          <p:cNvSpPr>
            <a:spLocks noGrp="1"/>
          </p:cNvSpPr>
          <p:nvPr>
            <p:ph type="ftr" sz="quarter" idx="11"/>
          </p:nvPr>
        </p:nvSpPr>
        <p:spPr/>
        <p:txBody>
          <a:bodyPr/>
          <a:lstStyle/>
          <a:p>
            <a:r>
              <a:rPr lang="en-US"/>
              <a:t>© 2021, Texas Education Agency. All Rights Reserved.</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Tree>
    <p:extLst>
      <p:ext uri="{BB962C8B-B14F-4D97-AF65-F5344CB8AC3E}">
        <p14:creationId xmlns:p14="http://schemas.microsoft.com/office/powerpoint/2010/main" val="54315446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38B132A5-8472-4368-880D-C23B3F6F846C}" type="datetime1">
              <a:rPr lang="en-US" smtClean="0"/>
              <a:t>3/20/2023</a:t>
            </a:fld>
            <a:endParaRPr lang="en-US"/>
          </a:p>
        </p:txBody>
      </p:sp>
      <p:sp>
        <p:nvSpPr>
          <p:cNvPr id="5" name="Footer Placeholder 4"/>
          <p:cNvSpPr>
            <a:spLocks noGrp="1"/>
          </p:cNvSpPr>
          <p:nvPr>
            <p:ph type="ftr" sz="quarter" idx="11"/>
          </p:nvPr>
        </p:nvSpPr>
        <p:spPr/>
        <p:txBody>
          <a:bodyPr/>
          <a:lstStyle/>
          <a:p>
            <a:r>
              <a:rPr lang="en-US"/>
              <a:t>© 2022, Texas Education Agency.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Tree>
    <p:extLst>
      <p:ext uri="{BB962C8B-B14F-4D97-AF65-F5344CB8AC3E}">
        <p14:creationId xmlns:p14="http://schemas.microsoft.com/office/powerpoint/2010/main" val="136997369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itle Bar - 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CD69E523-28E7-4893-87B3-E9EE5A5515C8}" type="datetime1">
              <a:rPr lang="en-US" smtClean="0"/>
              <a:t>3/20/2023</a:t>
            </a:fld>
            <a:endParaRPr lang="en-US"/>
          </a:p>
        </p:txBody>
      </p:sp>
      <p:sp>
        <p:nvSpPr>
          <p:cNvPr id="6" name="Footer Placeholder 5"/>
          <p:cNvSpPr>
            <a:spLocks noGrp="1"/>
          </p:cNvSpPr>
          <p:nvPr>
            <p:ph type="ftr" sz="quarter" idx="11"/>
          </p:nvPr>
        </p:nvSpPr>
        <p:spPr/>
        <p:txBody>
          <a:bodyPr/>
          <a:lstStyle/>
          <a:p>
            <a:r>
              <a:rPr lang="en-US"/>
              <a:t>© 2021, Texas Education Agency. All Rights Reserved.</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77012672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Open Sans (Headings)"/>
              </a:defRPr>
            </a:lvl1pPr>
          </a:lstStyle>
          <a:p>
            <a:r>
              <a:rPr lang="en-US"/>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43C0ADB7-6D2F-4E81-81F8-AE790A4042EC}" type="datetime1">
              <a:rPr lang="en-US" smtClean="0"/>
              <a:t>3/20/2023</a:t>
            </a:fld>
            <a:endParaRPr lang="en-US"/>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r>
              <a:rPr lang="en-US"/>
              <a:t>© 2021, Texas Education Agency. All Rights Reserved.</a:t>
            </a:r>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20116843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B0FC94B1-D0F0-49E6-A913-73426055CBD9}" type="datetime1">
              <a:rPr lang="en-US" smtClean="0"/>
              <a:t>3/20/2023</a:t>
            </a:fld>
            <a:endParaRPr lang="en-US"/>
          </a:p>
        </p:txBody>
      </p:sp>
      <p:sp>
        <p:nvSpPr>
          <p:cNvPr id="8" name="Footer Placeholder 7"/>
          <p:cNvSpPr>
            <a:spLocks noGrp="1"/>
          </p:cNvSpPr>
          <p:nvPr>
            <p:ph type="ftr" sz="quarter" idx="11"/>
          </p:nvPr>
        </p:nvSpPr>
        <p:spPr/>
        <p:txBody>
          <a:bodyPr/>
          <a:lstStyle/>
          <a:p>
            <a:r>
              <a:rPr lang="en-US"/>
              <a:t>© 2021, Texas Education Agency. All Rights Reserved.</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584043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7C7436D1-A6F7-4D54-A218-92583A326DF3}" type="datetime1">
              <a:rPr lang="en-US" smtClean="0"/>
              <a:t>3/20/2023</a:t>
            </a:fld>
            <a:endParaRPr lang="en-US"/>
          </a:p>
        </p:txBody>
      </p:sp>
      <p:sp>
        <p:nvSpPr>
          <p:cNvPr id="6" name="Footer Placeholder 5"/>
          <p:cNvSpPr>
            <a:spLocks noGrp="1"/>
          </p:cNvSpPr>
          <p:nvPr>
            <p:ph type="ftr" sz="quarter" idx="11"/>
          </p:nvPr>
        </p:nvSpPr>
        <p:spPr/>
        <p:txBody>
          <a:bodyPr/>
          <a:lstStyle/>
          <a:p>
            <a:r>
              <a:rPr lang="en-US"/>
              <a:t>© 2021, Texas Education Agency. All Rights Reserved.</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03236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600" b="1" i="0">
                <a:solidFill>
                  <a:srgbClr val="0D6CB8"/>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800" b="0" i="0">
                <a:solidFill>
                  <a:srgbClr val="0D6CB8"/>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800" b="0" i="0">
                <a:solidFill>
                  <a:srgbClr val="0D6CB8"/>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17" name="bg object 17"/>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FFFFF">
              <a:alpha val="70195"/>
            </a:srgbClr>
          </a:solidFill>
        </p:spPr>
        <p:txBody>
          <a:bodyPr wrap="square" lIns="0" tIns="0" rIns="0" bIns="0" rtlCol="0"/>
          <a:lstStyle/>
          <a:p>
            <a:endParaRPr/>
          </a:p>
        </p:txBody>
      </p:sp>
      <p:sp>
        <p:nvSpPr>
          <p:cNvPr id="18" name="bg object 18"/>
          <p:cNvSpPr/>
          <p:nvPr/>
        </p:nvSpPr>
        <p:spPr>
          <a:xfrm>
            <a:off x="361188" y="0"/>
            <a:ext cx="1574800" cy="6858000"/>
          </a:xfrm>
          <a:custGeom>
            <a:avLst/>
            <a:gdLst/>
            <a:ahLst/>
            <a:cxnLst/>
            <a:rect l="l" t="t" r="r" b="b"/>
            <a:pathLst>
              <a:path w="1574800" h="6858000">
                <a:moveTo>
                  <a:pt x="1574292" y="0"/>
                </a:moveTo>
                <a:lnTo>
                  <a:pt x="0" y="0"/>
                </a:lnTo>
                <a:lnTo>
                  <a:pt x="0" y="6858000"/>
                </a:lnTo>
                <a:lnTo>
                  <a:pt x="1574292" y="6858000"/>
                </a:lnTo>
                <a:lnTo>
                  <a:pt x="1574292" y="0"/>
                </a:lnTo>
                <a:close/>
              </a:path>
            </a:pathLst>
          </a:custGeom>
          <a:solidFill>
            <a:srgbClr val="0D6CB8">
              <a:alpha val="79998"/>
            </a:srgbClr>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651510" y="233172"/>
            <a:ext cx="993647" cy="397763"/>
          </a:xfrm>
          <a:prstGeom prst="rect">
            <a:avLst/>
          </a:prstGeom>
        </p:spPr>
      </p:pic>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58080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2807543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E5441-3A92-4B45-33AE-48B547D24D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B0F7136-931E-F6DB-EC7F-7DED6ED1B08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EA3266-4DD3-8EB7-5FB1-71E0F2918A1E}"/>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5" name="Footer Placeholder 4">
            <a:extLst>
              <a:ext uri="{FF2B5EF4-FFF2-40B4-BE49-F238E27FC236}">
                <a16:creationId xmlns:a16="http://schemas.microsoft.com/office/drawing/2014/main" id="{B69BA5AC-35ED-D725-2F65-14F35E6331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464683-833F-12B1-F1C6-8F21E5191A51}"/>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228698363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CEDF2-E86C-B85E-5173-B1A6E59CD4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8E49F2-3B5C-43B4-76BE-48103829C5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8D96DB-1C72-4B09-ED2F-7EDA2DCC1A0C}"/>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5" name="Footer Placeholder 4">
            <a:extLst>
              <a:ext uri="{FF2B5EF4-FFF2-40B4-BE49-F238E27FC236}">
                <a16:creationId xmlns:a16="http://schemas.microsoft.com/office/drawing/2014/main" id="{FDDBD670-D1E8-9D82-0311-82CC4FB674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ACE48E-2F7B-9816-BC18-FD08D6504629}"/>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61654377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53675-9F7E-C5DF-6695-966A567A78A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95C6070-0980-AFC4-877B-30742653F13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0A2CDA-7717-0096-752D-22035F9A48CC}"/>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5" name="Footer Placeholder 4">
            <a:extLst>
              <a:ext uri="{FF2B5EF4-FFF2-40B4-BE49-F238E27FC236}">
                <a16:creationId xmlns:a16="http://schemas.microsoft.com/office/drawing/2014/main" id="{A7A9F6DF-049A-E99A-2BF3-C36D4A53B6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3263F8-C204-84A2-A1F1-74C339A41924}"/>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405853758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B407AA-A581-DA45-BFAD-81CC4D4340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6506EB-826D-447E-C3C7-7C63A80160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AA56727-68B2-5A6D-43D5-05218D86628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EF9300F-E5A8-B629-835D-67288C1D338A}"/>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6" name="Footer Placeholder 5">
            <a:extLst>
              <a:ext uri="{FF2B5EF4-FFF2-40B4-BE49-F238E27FC236}">
                <a16:creationId xmlns:a16="http://schemas.microsoft.com/office/drawing/2014/main" id="{B39D1422-A10C-4F17-F825-7022289554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BE1D04-5213-D2CB-B8A0-79BB0B82F8FB}"/>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280067017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C63CAC-77C6-A1F8-AC7B-EB33970E532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9AB61D0-6598-5744-BD37-7ABE238A6FB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F33324-0BF9-7F42-8B2F-FBA04E96904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AF162E-8EA8-5E93-BBFB-E430A49FE8F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0CA3FA8-C77A-4612-D87C-967A0A46DE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E40FB4C-BE21-8DF1-EA91-24A3A8D1838C}"/>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8" name="Footer Placeholder 7">
            <a:extLst>
              <a:ext uri="{FF2B5EF4-FFF2-40B4-BE49-F238E27FC236}">
                <a16:creationId xmlns:a16="http://schemas.microsoft.com/office/drawing/2014/main" id="{08EC9938-5E44-78AE-8863-98270F445A7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54301E-D609-D2B5-583C-33C0806399E8}"/>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270016913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07D2D-BC18-CBC8-BCFE-E8893A8ECD7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79F8E12-D65F-DB5F-7C26-CB6767BDE8AC}"/>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4" name="Footer Placeholder 3">
            <a:extLst>
              <a:ext uri="{FF2B5EF4-FFF2-40B4-BE49-F238E27FC236}">
                <a16:creationId xmlns:a16="http://schemas.microsoft.com/office/drawing/2014/main" id="{788D88A5-35CA-8539-8B80-D63E2EFF170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F1D5271-6431-11D6-B758-218907498CDE}"/>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269590499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488E2A-163C-9140-7CC4-B9E3906507E6}"/>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3" name="Footer Placeholder 2">
            <a:extLst>
              <a:ext uri="{FF2B5EF4-FFF2-40B4-BE49-F238E27FC236}">
                <a16:creationId xmlns:a16="http://schemas.microsoft.com/office/drawing/2014/main" id="{1A1FDA46-1038-842E-B35D-A54501B6027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7507050-315D-C6A3-AFB4-FF353529A039}"/>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398782942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44B15-F946-588E-57B7-4EED91BDAE0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AEB4FD-BD48-81AA-AD39-D11662A5D2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CB4A755-0A13-5B0E-D79B-50D3D4FE46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5A9D21-0BB5-3D02-EB41-483AABFDA017}"/>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6" name="Footer Placeholder 5">
            <a:extLst>
              <a:ext uri="{FF2B5EF4-FFF2-40B4-BE49-F238E27FC236}">
                <a16:creationId xmlns:a16="http://schemas.microsoft.com/office/drawing/2014/main" id="{12B20463-943B-B2E2-6E50-06A7789150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5663FF-665B-C7F3-9806-30E4C9B81A9A}"/>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60622918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12B4C-AE58-0E8C-85BC-BBF4E99D1F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696C696-87D4-10F8-EA07-222E50FDE2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27F1917-E108-51F7-64D3-18B45C713B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A3F179-C800-F941-D3B3-5B94EEBF906E}"/>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6" name="Footer Placeholder 5">
            <a:extLst>
              <a:ext uri="{FF2B5EF4-FFF2-40B4-BE49-F238E27FC236}">
                <a16:creationId xmlns:a16="http://schemas.microsoft.com/office/drawing/2014/main" id="{939EE847-5847-727B-42DD-2FB250974B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11EF8C-C4BD-362F-7FD2-E3B7E2761311}"/>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1654559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00174338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C3ACF-A0F6-1260-A192-10C95D2D7F3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AC90EF2-2EE4-0693-2B7A-6E554E46469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C0ECFD-EACC-B88A-69F9-B977F5C8155D}"/>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5" name="Footer Placeholder 4">
            <a:extLst>
              <a:ext uri="{FF2B5EF4-FFF2-40B4-BE49-F238E27FC236}">
                <a16:creationId xmlns:a16="http://schemas.microsoft.com/office/drawing/2014/main" id="{7CDFE15D-B346-D853-E480-36C0753FAD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38B141-E44E-70B2-27E1-B5CF1688D526}"/>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266613482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96CD6E-C75B-03B6-0943-3E7CDE41F3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5886541-EC10-1986-B273-39A95489C2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6A4C8D-380C-CA5B-97DA-9441EFED6ACE}"/>
              </a:ext>
            </a:extLst>
          </p:cNvPr>
          <p:cNvSpPr>
            <a:spLocks noGrp="1"/>
          </p:cNvSpPr>
          <p:nvPr>
            <p:ph type="dt" sz="half" idx="10"/>
          </p:nvPr>
        </p:nvSpPr>
        <p:spPr/>
        <p:txBody>
          <a:bodyPr/>
          <a:lstStyle/>
          <a:p>
            <a:fld id="{6E818113-709D-411A-AD3A-850D96D2CC46}" type="datetimeFigureOut">
              <a:rPr lang="en-US" smtClean="0"/>
              <a:t>3/20/2023</a:t>
            </a:fld>
            <a:endParaRPr lang="en-US"/>
          </a:p>
        </p:txBody>
      </p:sp>
      <p:sp>
        <p:nvSpPr>
          <p:cNvPr id="5" name="Footer Placeholder 4">
            <a:extLst>
              <a:ext uri="{FF2B5EF4-FFF2-40B4-BE49-F238E27FC236}">
                <a16:creationId xmlns:a16="http://schemas.microsoft.com/office/drawing/2014/main" id="{D07CF472-CCBF-96AF-CDCE-413B73FA66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866CD2-8035-C8FD-7FC5-7024CF93E467}"/>
              </a:ext>
            </a:extLst>
          </p:cNvPr>
          <p:cNvSpPr>
            <a:spLocks noGrp="1"/>
          </p:cNvSpPr>
          <p:nvPr>
            <p:ph type="sldNum" sz="quarter" idx="12"/>
          </p:nvPr>
        </p:nvSpPr>
        <p:spPr/>
        <p:txBody>
          <a:bodyPr/>
          <a:lstStyle/>
          <a:p>
            <a:fld id="{29EB46D3-E325-44EC-8F21-8FDA453E8519}" type="slidenum">
              <a:rPr lang="en-US" smtClean="0"/>
              <a:t>‹#›</a:t>
            </a:fld>
            <a:endParaRPr lang="en-US"/>
          </a:p>
        </p:txBody>
      </p:sp>
    </p:spTree>
    <p:extLst>
      <p:ext uri="{BB962C8B-B14F-4D97-AF65-F5344CB8AC3E}">
        <p14:creationId xmlns:p14="http://schemas.microsoft.com/office/powerpoint/2010/main" val="329400794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45093879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939B58D8-208E-4C23-9978-2A59D84933E6}" type="slidenum">
              <a:rPr lang="en-US" smtClean="0"/>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8C4079B5-6E78-40CC-933D-7055C62C03DA}" type="datetimeFigureOut">
              <a:rPr lang="en-US" smtClean="0"/>
              <a:t>3/20/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426166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A186C-1B25-4BBD-B032-A97D13B24D0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762FFD-5A0A-42B6-BA7C-63D1F1AE64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94E21D3-4653-4F64-98D6-343CA5093873}"/>
              </a:ext>
            </a:extLst>
          </p:cNvPr>
          <p:cNvSpPr>
            <a:spLocks noGrp="1"/>
          </p:cNvSpPr>
          <p:nvPr>
            <p:ph type="dt" sz="half" idx="10"/>
          </p:nvPr>
        </p:nvSpPr>
        <p:spPr/>
        <p:txBody>
          <a:bodyPr/>
          <a:lstStyle/>
          <a:p>
            <a:fld id="{8C4079B5-6E78-40CC-933D-7055C62C03DA}" type="datetimeFigureOut">
              <a:rPr lang="en-US" smtClean="0"/>
              <a:t>3/20/2023</a:t>
            </a:fld>
            <a:endParaRPr lang="en-US"/>
          </a:p>
        </p:txBody>
      </p:sp>
      <p:sp>
        <p:nvSpPr>
          <p:cNvPr id="5" name="Footer Placeholder 4">
            <a:extLst>
              <a:ext uri="{FF2B5EF4-FFF2-40B4-BE49-F238E27FC236}">
                <a16:creationId xmlns:a16="http://schemas.microsoft.com/office/drawing/2014/main" id="{D8DDE2C7-F839-4DF8-A35A-08BD1E924C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59EFDB-8EFB-484E-8B9A-C38A708070C8}"/>
              </a:ext>
            </a:extLst>
          </p:cNvPr>
          <p:cNvSpPr>
            <a:spLocks noGrp="1"/>
          </p:cNvSpPr>
          <p:nvPr>
            <p:ph type="sldNum" sz="quarter" idx="12"/>
          </p:nvPr>
        </p:nvSpPr>
        <p:spPr/>
        <p:txBody>
          <a:bodyPr/>
          <a:lstStyle/>
          <a:p>
            <a:fld id="{939B58D8-208E-4C23-9978-2A59D84933E6}" type="slidenum">
              <a:rPr lang="en-US" smtClean="0"/>
              <a:t>‹#›</a:t>
            </a:fld>
            <a:endParaRPr lang="en-US"/>
          </a:p>
        </p:txBody>
      </p:sp>
    </p:spTree>
    <p:extLst>
      <p:ext uri="{BB962C8B-B14F-4D97-AF65-F5344CB8AC3E}">
        <p14:creationId xmlns:p14="http://schemas.microsoft.com/office/powerpoint/2010/main" val="1497722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7EC28D46-687E-47DE-BF1D-3D32C28407C9}"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20.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54902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988F582-5A96-4AE3-8E0D-7912456E2DBD}" type="datetime1">
              <a:rPr lang="en-US" smtClean="0"/>
              <a:t>3/20/2023</a:t>
            </a:fld>
            <a:endParaRPr lang="en-US"/>
          </a:p>
        </p:txBody>
      </p:sp>
      <p:sp>
        <p:nvSpPr>
          <p:cNvPr id="4" name="Footer Placeholder 3"/>
          <p:cNvSpPr>
            <a:spLocks noGrp="1"/>
          </p:cNvSpPr>
          <p:nvPr>
            <p:ph type="ftr" sz="quarter" idx="11"/>
          </p:nvPr>
        </p:nvSpPr>
        <p:spPr/>
        <p:txBody>
          <a:bodyPr/>
          <a:lstStyle/>
          <a:p>
            <a:r>
              <a:rPr lang="en-US"/>
              <a:t>Copyright ©Texas Education Agency, 2019.  All rights reserved.</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5620097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7EC28D46-687E-47DE-BF1D-3D32C28407C9}"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20.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a:prstGeom prst="rect">
            <a:avLst/>
          </a:prstGeo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4580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7A64600A-BB24-434B-ABD9-F6D61772C2C3}" type="datetime1">
              <a:rPr lang="en-US" smtClean="0"/>
              <a:t>3/20/2023</a:t>
            </a:fld>
            <a:endParaRPr lang="en-US"/>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r>
              <a:rPr lang="en-US"/>
              <a:t>Copyright ©Texas Education Agency, 2020.  All rights reserved.</a:t>
            </a:r>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6424482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5C05D33-2F5D-482A-8D2C-D96EBC369FAA}" type="datetime1">
              <a:rPr kumimoji="0" lang="en-US" sz="1200" b="0" i="0" u="none" strike="noStrike" kern="1200" cap="none" spc="0" normalizeH="0" baseline="0" noProof="0" smtClean="0">
                <a:ln>
                  <a:noFill/>
                </a:ln>
                <a:solidFill>
                  <a:srgbClr val="0D6CB9">
                    <a:lumMod val="60000"/>
                    <a:lumOff val="40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0/2023</a:t>
            </a:fld>
            <a:r>
              <a:rPr kumimoji="0" lang="en-US" sz="1200" b="0" i="0" u="none" strike="noStrike" kern="1200" cap="none" spc="0" normalizeH="0" baseline="0" noProof="0">
                <a:ln>
                  <a:noFill/>
                </a:ln>
                <a:solidFill>
                  <a:srgbClr val="0D6CB9">
                    <a:lumMod val="60000"/>
                    <a:lumOff val="40000"/>
                  </a:srgbClr>
                </a:solidFill>
                <a:effectLst/>
                <a:uLnTx/>
                <a:uFillTx/>
                <a:latin typeface="Calibri" panose="020F0502020204030204"/>
                <a:ea typeface="+mn-ea"/>
                <a:cs typeface="+mn-cs"/>
              </a:rPr>
              <a:t>     </a:t>
            </a:r>
            <a:fld id="{EA89072E-2125-40D6-847A-9E6B768971D4}" type="slidenum">
              <a:rPr kumimoji="0" lang="en-US" sz="1200" b="0" i="0" u="none" strike="noStrike" kern="1200" cap="none" spc="0" normalizeH="0" baseline="0" noProof="0" smtClean="0">
                <a:ln>
                  <a:noFill/>
                </a:ln>
                <a:solidFill>
                  <a:srgbClr val="0D6CB9">
                    <a:lumMod val="60000"/>
                    <a:lumOff val="40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D6CB9">
                  <a:lumMod val="60000"/>
                  <a:lumOff val="40000"/>
                </a:srgb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D6CB9">
                    <a:lumMod val="60000"/>
                    <a:lumOff val="40000"/>
                  </a:srgbClr>
                </a:solidFill>
                <a:effectLst/>
                <a:uLnTx/>
                <a:uFillTx/>
                <a:latin typeface="Calibri" panose="020F0502020204030204"/>
                <a:ea typeface="+mn-ea"/>
                <a:cs typeface="+mn-cs"/>
              </a:rPr>
              <a:t>Footer</a:t>
            </a:r>
          </a:p>
        </p:txBody>
      </p:sp>
    </p:spTree>
    <p:extLst>
      <p:ext uri="{BB962C8B-B14F-4D97-AF65-F5344CB8AC3E}">
        <p14:creationId xmlns:p14="http://schemas.microsoft.com/office/powerpoint/2010/main" val="30592065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17" name="bg object 17"/>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FFFFF">
              <a:alpha val="70195"/>
            </a:srgbClr>
          </a:solidFill>
        </p:spPr>
        <p:txBody>
          <a:bodyPr wrap="square" lIns="0" tIns="0" rIns="0" bIns="0" rtlCol="0"/>
          <a:lstStyle/>
          <a:p>
            <a:endParaRPr/>
          </a:p>
        </p:txBody>
      </p:sp>
      <p:sp>
        <p:nvSpPr>
          <p:cNvPr id="18" name="bg object 18"/>
          <p:cNvSpPr/>
          <p:nvPr/>
        </p:nvSpPr>
        <p:spPr>
          <a:xfrm>
            <a:off x="361188" y="0"/>
            <a:ext cx="1574800" cy="6858000"/>
          </a:xfrm>
          <a:custGeom>
            <a:avLst/>
            <a:gdLst/>
            <a:ahLst/>
            <a:cxnLst/>
            <a:rect l="l" t="t" r="r" b="b"/>
            <a:pathLst>
              <a:path w="1574800" h="6858000">
                <a:moveTo>
                  <a:pt x="1574292" y="0"/>
                </a:moveTo>
                <a:lnTo>
                  <a:pt x="0" y="0"/>
                </a:lnTo>
                <a:lnTo>
                  <a:pt x="0" y="6858000"/>
                </a:lnTo>
                <a:lnTo>
                  <a:pt x="1574292" y="6858000"/>
                </a:lnTo>
                <a:lnTo>
                  <a:pt x="1574292" y="0"/>
                </a:lnTo>
                <a:close/>
              </a:path>
            </a:pathLst>
          </a:custGeom>
          <a:solidFill>
            <a:srgbClr val="0D6CB8">
              <a:alpha val="79998"/>
            </a:srgbClr>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651510" y="233172"/>
            <a:ext cx="993647" cy="397763"/>
          </a:xfrm>
          <a:prstGeom prst="rect">
            <a:avLst/>
          </a:prstGeom>
        </p:spPr>
      </p:pic>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907920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65727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291217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9288100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6550422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366810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2189279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8762849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2454187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3344832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800041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6550094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647224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1CFEFFD-E080-4649-A13C-EA4ED3B363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18" r="64" b="10265"/>
          <a:stretch/>
        </p:blipFill>
        <p:spPr>
          <a:xfrm>
            <a:off x="-102369" y="0"/>
            <a:ext cx="1229436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102369" y="0"/>
            <a:ext cx="12294369" cy="687303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8966797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382024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9534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1977767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3420025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0/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3292510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0155361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297757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3846718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8144799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67135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7906195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9469272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3/20/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166359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647957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3/20/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0/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0912749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0472396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400528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5765199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0/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2071737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5C05D33-2F5D-482A-8D2C-D96EBC369FAA}" type="datetime1">
              <a:rPr lang="en-US" smtClean="0">
                <a:solidFill>
                  <a:schemeClr val="accent1">
                    <a:lumMod val="60000"/>
                    <a:lumOff val="40000"/>
                  </a:schemeClr>
                </a:solidFill>
              </a:rPr>
              <a:pPr/>
              <a:t>3/20/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Footer</a:t>
            </a:r>
          </a:p>
        </p:txBody>
      </p:sp>
    </p:spTree>
    <p:extLst>
      <p:ext uri="{BB962C8B-B14F-4D97-AF65-F5344CB8AC3E}">
        <p14:creationId xmlns:p14="http://schemas.microsoft.com/office/powerpoint/2010/main" val="15276694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3/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173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0037321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3/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7512798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3/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8969169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3/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7685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3/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2300215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5389" y="295214"/>
            <a:ext cx="10181222" cy="751350"/>
          </a:xfrm>
        </p:spPr>
        <p:txBody>
          <a:bodyPr/>
          <a:lstStyle>
            <a:lvl1pPr algn="ctr">
              <a:defRPr/>
            </a:lvl1pPr>
          </a:lstStyle>
          <a:p>
            <a:r>
              <a:rPr lang="en-US"/>
              <a:t>Click to edit Master title style</a:t>
            </a:r>
          </a:p>
        </p:txBody>
      </p:sp>
      <p:sp>
        <p:nvSpPr>
          <p:cNvPr id="3" name="Date Placeholder 2"/>
          <p:cNvSpPr>
            <a:spLocks noGrp="1"/>
          </p:cNvSpPr>
          <p:nvPr>
            <p:ph type="dt" sz="half" idx="10"/>
          </p:nvPr>
        </p:nvSpPr>
        <p:spPr>
          <a:xfrm>
            <a:off x="238125" y="6420794"/>
            <a:ext cx="2743200" cy="365125"/>
          </a:xfrm>
        </p:spPr>
        <p:txBody>
          <a:bodyPr/>
          <a:lstStyle/>
          <a:p>
            <a:fld id="{2467F399-A317-43A8-96AE-17337FDF7B61}" type="datetime1">
              <a:rPr lang="en-US" smtClean="0"/>
              <a:t>3/20/2023</a:t>
            </a:fld>
            <a:endParaRPr lang="en-US"/>
          </a:p>
        </p:txBody>
      </p:sp>
      <p:sp>
        <p:nvSpPr>
          <p:cNvPr id="4" name="Footer Placeholder 3"/>
          <p:cNvSpPr>
            <a:spLocks noGrp="1"/>
          </p:cNvSpPr>
          <p:nvPr>
            <p:ph type="ftr" sz="quarter" idx="11"/>
          </p:nvPr>
        </p:nvSpPr>
        <p:spPr>
          <a:xfrm>
            <a:off x="4038600" y="6402346"/>
            <a:ext cx="4114800" cy="365125"/>
          </a:xfrm>
        </p:spPr>
        <p:txBody>
          <a:bodyPr/>
          <a:lstStyle/>
          <a:p>
            <a:r>
              <a:rPr lang="en-US"/>
              <a:t>Copyright ©Texas Education Agency, 2020.  All rights reserved.</a:t>
            </a:r>
          </a:p>
        </p:txBody>
      </p:sp>
      <p:sp>
        <p:nvSpPr>
          <p:cNvPr id="5" name="Slide Number Placeholder 4"/>
          <p:cNvSpPr>
            <a:spLocks noGrp="1"/>
          </p:cNvSpPr>
          <p:nvPr>
            <p:ph type="sldNum" sz="quarter" idx="12"/>
          </p:nvPr>
        </p:nvSpPr>
        <p:spPr>
          <a:xfrm>
            <a:off x="9210675" y="6458696"/>
            <a:ext cx="2743200" cy="365125"/>
          </a:xfrm>
        </p:spPr>
        <p:txBody>
          <a:bodyPr/>
          <a:lstStyle/>
          <a:p>
            <a:fld id="{0088AB57-2DBE-44A3-AE96-942C49E954BF}" type="slidenum">
              <a:rPr lang="en-US" smtClean="0"/>
              <a:t>‹#›</a:t>
            </a:fld>
            <a:endParaRPr lang="en-US"/>
          </a:p>
        </p:txBody>
      </p:sp>
      <p:sp>
        <p:nvSpPr>
          <p:cNvPr id="11" name="Text Placeholder 10"/>
          <p:cNvSpPr>
            <a:spLocks noGrp="1"/>
          </p:cNvSpPr>
          <p:nvPr>
            <p:ph type="body" sz="quarter" idx="14"/>
          </p:nvPr>
        </p:nvSpPr>
        <p:spPr>
          <a:xfrm>
            <a:off x="1457827" y="1644692"/>
            <a:ext cx="9276346" cy="4603750"/>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6244726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E250634-CFC3-4A5D-BE86-83EC977DB3E7}" type="datetime1">
              <a:rPr lang="en-US" smtClean="0"/>
              <a:t>3/20/2023</a:t>
            </a:fld>
            <a:endParaRPr lang="en-US"/>
          </a:p>
        </p:txBody>
      </p:sp>
      <p:sp>
        <p:nvSpPr>
          <p:cNvPr id="5" name="Footer Placeholder 4"/>
          <p:cNvSpPr>
            <a:spLocks noGrp="1"/>
          </p:cNvSpPr>
          <p:nvPr>
            <p:ph type="ftr" sz="quarter" idx="11"/>
          </p:nvPr>
        </p:nvSpPr>
        <p:spPr/>
        <p:txBody>
          <a:bodyPr/>
          <a:lstStyle/>
          <a:p>
            <a:r>
              <a:rPr lang="en-US"/>
              <a:t>Copyright ©Texas Education Agency, 2019.  All rights reserved.</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73953088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293E65D7-557F-4EBC-A7B9-2D8D86116C84}" type="datetime1">
              <a:rPr lang="en-US" smtClean="0"/>
              <a:t>3/20/2023</a:t>
            </a:fld>
            <a:endParaRPr lang="en-US"/>
          </a:p>
        </p:txBody>
      </p:sp>
      <p:sp>
        <p:nvSpPr>
          <p:cNvPr id="4" name="Footer Placeholder 3"/>
          <p:cNvSpPr>
            <a:spLocks noGrp="1"/>
          </p:cNvSpPr>
          <p:nvPr>
            <p:ph type="ftr" sz="quarter" idx="11"/>
          </p:nvPr>
        </p:nvSpPr>
        <p:spPr/>
        <p:txBody>
          <a:bodyPr/>
          <a:lstStyle/>
          <a:p>
            <a:r>
              <a:rPr lang="en-US"/>
              <a:t>Champions for Change – Highly Mobile &amp; At-Risk</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41816101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secHead">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828801" y="2743200"/>
            <a:ext cx="9497484"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7" name="Rectangle 6"/>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8" name="Rectangle 7"/>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9" name="Rectangle 8"/>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p:nvSpPr>
          <p:cNvPr id="2" name="Title 1"/>
          <p:cNvSpPr>
            <a:spLocks noGrp="1"/>
          </p:cNvSpPr>
          <p:nvPr>
            <p:ph type="title"/>
          </p:nvPr>
        </p:nvSpPr>
        <p:spPr>
          <a:xfrm>
            <a:off x="1828800" y="1600200"/>
            <a:ext cx="10160000" cy="990600"/>
          </a:xfrm>
        </p:spPr>
        <p:txBody>
          <a:bodyPr/>
          <a:lstStyle>
            <a:lvl1pPr algn="l">
              <a:buNone/>
              <a:defRPr sz="4400" b="0" cap="none">
                <a:solidFill>
                  <a:srgbClr val="FFFFFF"/>
                </a:solidFill>
              </a:defRPr>
            </a:lvl1pPr>
          </a:lstStyle>
          <a:p>
            <a:r>
              <a:rPr kumimoji="0" lang="en-US"/>
              <a:t>Click to edit Master title style</a:t>
            </a:r>
          </a:p>
        </p:txBody>
      </p:sp>
      <p:sp>
        <p:nvSpPr>
          <p:cNvPr id="12" name="Date Placeholder 11"/>
          <p:cNvSpPr>
            <a:spLocks noGrp="1"/>
          </p:cNvSpPr>
          <p:nvPr>
            <p:ph type="dt" sz="half" idx="10"/>
          </p:nvPr>
        </p:nvSpPr>
        <p:spPr/>
        <p:txBody>
          <a:bodyPr/>
          <a:lstStyle/>
          <a:p>
            <a:fld id="{69005A38-C91F-4BA8-A629-2DFA7648D2A5}" type="datetimeFigureOut">
              <a:rPr lang="en-US" smtClean="0"/>
              <a:pPr/>
              <a:t>3/20/2023</a:t>
            </a:fld>
            <a:endParaRPr lang="en-US"/>
          </a:p>
        </p:txBody>
      </p:sp>
      <p:sp>
        <p:nvSpPr>
          <p:cNvPr id="13" name="Slide Number Placeholder 12"/>
          <p:cNvSpPr>
            <a:spLocks noGrp="1"/>
          </p:cNvSpPr>
          <p:nvPr>
            <p:ph type="sldNum" sz="quarter" idx="11"/>
          </p:nvPr>
        </p:nvSpPr>
        <p:spPr>
          <a:xfrm>
            <a:off x="0" y="1752600"/>
            <a:ext cx="1727200" cy="701676"/>
          </a:xfrm>
        </p:spPr>
        <p:txBody>
          <a:bodyPr>
            <a:noAutofit/>
          </a:bodyPr>
          <a:lstStyle>
            <a:lvl1pPr>
              <a:defRPr sz="2400">
                <a:solidFill>
                  <a:srgbClr val="FFFFFF"/>
                </a:solidFill>
              </a:defRPr>
            </a:lvl1pPr>
          </a:lstStyle>
          <a:p>
            <a:fld id="{C565D3BB-01DF-4CB3-928C-96E84AC8D778}" type="slidenum">
              <a:rPr lang="en-US" smtClean="0"/>
              <a:pPr/>
              <a:t>‹#›</a:t>
            </a:fld>
            <a:endParaRPr lang="en-US"/>
          </a:p>
        </p:txBody>
      </p:sp>
      <p:sp>
        <p:nvSpPr>
          <p:cNvPr id="14" name="Footer Placeholder 13"/>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4658967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0D6CB8"/>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897997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017247"/>
            <a:ext cx="12192000" cy="485775"/>
          </a:xfrm>
          <a:custGeom>
            <a:avLst/>
            <a:gdLst/>
            <a:ahLst/>
            <a:cxnLst/>
            <a:rect l="l" t="t" r="r" b="b"/>
            <a:pathLst>
              <a:path w="12192000" h="485775">
                <a:moveTo>
                  <a:pt x="0" y="485152"/>
                </a:moveTo>
                <a:lnTo>
                  <a:pt x="12192000" y="485152"/>
                </a:lnTo>
                <a:lnTo>
                  <a:pt x="12192000" y="0"/>
                </a:lnTo>
                <a:lnTo>
                  <a:pt x="0" y="0"/>
                </a:lnTo>
                <a:lnTo>
                  <a:pt x="0" y="485152"/>
                </a:lnTo>
                <a:close/>
              </a:path>
            </a:pathLst>
          </a:custGeom>
          <a:solidFill>
            <a:srgbClr val="0D6CB8"/>
          </a:solidFill>
        </p:spPr>
        <p:txBody>
          <a:bodyPr wrap="square" lIns="0" tIns="0" rIns="0" bIns="0" rtlCol="0"/>
          <a:lstStyle/>
          <a:p>
            <a:endParaRPr/>
          </a:p>
        </p:txBody>
      </p:sp>
      <p:sp>
        <p:nvSpPr>
          <p:cNvPr id="17" name="bk object 17"/>
          <p:cNvSpPr/>
          <p:nvPr/>
        </p:nvSpPr>
        <p:spPr>
          <a:xfrm>
            <a:off x="5598159" y="6062979"/>
            <a:ext cx="995679" cy="398779"/>
          </a:xfrm>
          <a:prstGeom prst="rect">
            <a:avLst/>
          </a:prstGeom>
          <a:blipFill>
            <a:blip r:embed="rId2" cstate="print"/>
            <a:stretch>
              <a:fillRect/>
            </a:stretch>
          </a:blipFill>
        </p:spPr>
        <p:txBody>
          <a:bodyPr wrap="square" lIns="0" tIns="0" rIns="0" bIns="0" rtlCol="0"/>
          <a:lstStyle/>
          <a:p>
            <a:endParaRPr/>
          </a:p>
        </p:txBody>
      </p:sp>
      <p:sp>
        <p:nvSpPr>
          <p:cNvPr id="18" name="bk object 18"/>
          <p:cNvSpPr/>
          <p:nvPr/>
        </p:nvSpPr>
        <p:spPr>
          <a:xfrm>
            <a:off x="0" y="6502400"/>
            <a:ext cx="12192000" cy="124460"/>
          </a:xfrm>
          <a:custGeom>
            <a:avLst/>
            <a:gdLst/>
            <a:ahLst/>
            <a:cxnLst/>
            <a:rect l="l" t="t" r="r" b="b"/>
            <a:pathLst>
              <a:path w="12192000" h="124459">
                <a:moveTo>
                  <a:pt x="0" y="124460"/>
                </a:moveTo>
                <a:lnTo>
                  <a:pt x="12192000" y="124460"/>
                </a:lnTo>
                <a:lnTo>
                  <a:pt x="12192000" y="0"/>
                </a:lnTo>
                <a:lnTo>
                  <a:pt x="0" y="0"/>
                </a:lnTo>
                <a:lnTo>
                  <a:pt x="0" y="124460"/>
                </a:lnTo>
                <a:close/>
              </a:path>
            </a:pathLst>
          </a:custGeom>
          <a:solidFill>
            <a:srgbClr val="F05F38"/>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1" i="0">
                <a:solidFill>
                  <a:srgbClr val="0D6CB8"/>
                </a:solidFill>
                <a:latin typeface="Calibri"/>
                <a:cs typeface="Calibri"/>
              </a:defRPr>
            </a:lvl1pPr>
          </a:lstStyle>
          <a:p>
            <a:endParaRPr/>
          </a:p>
        </p:txBody>
      </p:sp>
      <p:sp>
        <p:nvSpPr>
          <p:cNvPr id="3" name="Holder 3"/>
          <p:cNvSpPr>
            <a:spLocks noGrp="1"/>
          </p:cNvSpPr>
          <p:nvPr>
            <p:ph sz="half" idx="2"/>
          </p:nvPr>
        </p:nvSpPr>
        <p:spPr>
          <a:xfrm>
            <a:off x="2297429" y="1438910"/>
            <a:ext cx="4462780" cy="460756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7186930" y="1438910"/>
            <a:ext cx="4462780" cy="4605020"/>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251957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2264167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B505CB7-8979-7445-8887-9EEE62657A0C}"/>
              </a:ext>
            </a:extLst>
          </p:cNvPr>
          <p:cNvSpPr/>
          <p:nvPr userDrawn="1"/>
        </p:nvSpPr>
        <p:spPr>
          <a:xfrm rot="10800000">
            <a:off x="1429353" y="6330161"/>
            <a:ext cx="10762647" cy="365126"/>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EE76E7F4-D7F4-C34E-9BD8-1C047C79D016}"/>
              </a:ext>
            </a:extLst>
          </p:cNvPr>
          <p:cNvSpPr/>
          <p:nvPr userDrawn="1"/>
        </p:nvSpPr>
        <p:spPr>
          <a:xfrm>
            <a:off x="906240" y="-8602"/>
            <a:ext cx="10980960" cy="1014701"/>
          </a:xfrm>
          <a:custGeom>
            <a:avLst/>
            <a:gdLst>
              <a:gd name="connsiteX0" fmla="*/ 0 w 10762647"/>
              <a:gd name="connsiteY0" fmla="*/ 0 h 1014701"/>
              <a:gd name="connsiteX1" fmla="*/ 9801356 w 10762647"/>
              <a:gd name="connsiteY1" fmla="*/ 0 h 1014701"/>
              <a:gd name="connsiteX2" fmla="*/ 9801356 w 10762647"/>
              <a:gd name="connsiteY2" fmla="*/ 1 h 1014701"/>
              <a:gd name="connsiteX3" fmla="*/ 10148507 w 10762647"/>
              <a:gd name="connsiteY3" fmla="*/ 1 h 1014701"/>
              <a:gd name="connsiteX4" fmla="*/ 10215120 w 10762647"/>
              <a:gd name="connsiteY4" fmla="*/ 1 h 1014701"/>
              <a:gd name="connsiteX5" fmla="*/ 10559545 w 10762647"/>
              <a:gd name="connsiteY5" fmla="*/ 1 h 1014701"/>
              <a:gd name="connsiteX6" fmla="*/ 10559545 w 10762647"/>
              <a:gd name="connsiteY6" fmla="*/ 2 h 1014701"/>
              <a:gd name="connsiteX7" fmla="*/ 10762647 w 10762647"/>
              <a:gd name="connsiteY7" fmla="*/ 507352 h 1014701"/>
              <a:gd name="connsiteX8" fmla="*/ 10559545 w 10762647"/>
              <a:gd name="connsiteY8" fmla="*/ 1014701 h 1014701"/>
              <a:gd name="connsiteX9" fmla="*/ 10559545 w 10762647"/>
              <a:gd name="connsiteY9" fmla="*/ 1014700 h 1014701"/>
              <a:gd name="connsiteX10" fmla="*/ 10215120 w 10762647"/>
              <a:gd name="connsiteY10" fmla="*/ 1014700 h 1014701"/>
              <a:gd name="connsiteX11" fmla="*/ 10215120 w 10762647"/>
              <a:gd name="connsiteY11" fmla="*/ 1014701 h 1014701"/>
              <a:gd name="connsiteX12" fmla="*/ 9801356 w 10762647"/>
              <a:gd name="connsiteY12" fmla="*/ 1014701 h 1014701"/>
              <a:gd name="connsiteX13" fmla="*/ 9801356 w 10762647"/>
              <a:gd name="connsiteY13" fmla="*/ 1014700 h 1014701"/>
              <a:gd name="connsiteX14" fmla="*/ 0 w 10762647"/>
              <a:gd name="connsiteY14" fmla="*/ 1014700 h 1014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2647" h="1014701">
                <a:moveTo>
                  <a:pt x="0" y="0"/>
                </a:moveTo>
                <a:lnTo>
                  <a:pt x="9801356" y="0"/>
                </a:lnTo>
                <a:lnTo>
                  <a:pt x="9801356" y="1"/>
                </a:lnTo>
                <a:lnTo>
                  <a:pt x="10148507" y="1"/>
                </a:lnTo>
                <a:lnTo>
                  <a:pt x="10215120" y="1"/>
                </a:lnTo>
                <a:lnTo>
                  <a:pt x="10559545" y="1"/>
                </a:lnTo>
                <a:lnTo>
                  <a:pt x="10559545" y="2"/>
                </a:lnTo>
                <a:lnTo>
                  <a:pt x="10762647" y="507352"/>
                </a:lnTo>
                <a:lnTo>
                  <a:pt x="10559545" y="1014701"/>
                </a:lnTo>
                <a:lnTo>
                  <a:pt x="10559545" y="1014700"/>
                </a:lnTo>
                <a:lnTo>
                  <a:pt x="10215120" y="1014700"/>
                </a:lnTo>
                <a:lnTo>
                  <a:pt x="10215120" y="1014701"/>
                </a:lnTo>
                <a:lnTo>
                  <a:pt x="9801356" y="1014701"/>
                </a:lnTo>
                <a:lnTo>
                  <a:pt x="9801356" y="1014700"/>
                </a:lnTo>
                <a:lnTo>
                  <a:pt x="0" y="10147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15">
            <a:extLst>
              <a:ext uri="{FF2B5EF4-FFF2-40B4-BE49-F238E27FC236}">
                <a16:creationId xmlns:a16="http://schemas.microsoft.com/office/drawing/2014/main" id="{0E04AF0C-681D-DA48-8100-43E62C4582F4}"/>
              </a:ext>
            </a:extLst>
          </p:cNvPr>
          <p:cNvSpPr/>
          <p:nvPr userDrawn="1"/>
        </p:nvSpPr>
        <p:spPr>
          <a:xfrm rot="10800000">
            <a:off x="10855627" y="5614327"/>
            <a:ext cx="1336373" cy="1243673"/>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Title 1">
            <a:extLst>
              <a:ext uri="{FF2B5EF4-FFF2-40B4-BE49-F238E27FC236}">
                <a16:creationId xmlns:a16="http://schemas.microsoft.com/office/drawing/2014/main" id="{89447FAB-F12A-8B42-B944-B9CE3D4B673A}"/>
              </a:ext>
            </a:extLst>
          </p:cNvPr>
          <p:cNvSpPr>
            <a:spLocks noGrp="1"/>
          </p:cNvSpPr>
          <p:nvPr>
            <p:ph type="title" hasCustomPrompt="1"/>
          </p:nvPr>
        </p:nvSpPr>
        <p:spPr>
          <a:xfrm>
            <a:off x="1491537" y="133478"/>
            <a:ext cx="9129571" cy="751350"/>
          </a:xfrm>
        </p:spPr>
        <p:txBody>
          <a:bodyPr>
            <a:normAutofit/>
          </a:bodyPr>
          <a:lstStyle>
            <a:lvl1pPr algn="l">
              <a:defRPr sz="3200" b="0">
                <a:solidFill>
                  <a:schemeClr val="bg1"/>
                </a:solidFill>
                <a:latin typeface="+mn-lt"/>
              </a:defRPr>
            </a:lvl1pPr>
          </a:lstStyle>
          <a:p>
            <a:r>
              <a:rPr lang="en-US"/>
              <a:t>Click to add header</a:t>
            </a:r>
          </a:p>
        </p:txBody>
      </p:sp>
      <p:sp>
        <p:nvSpPr>
          <p:cNvPr id="18" name="Content Placeholder 2">
            <a:extLst>
              <a:ext uri="{FF2B5EF4-FFF2-40B4-BE49-F238E27FC236}">
                <a16:creationId xmlns:a16="http://schemas.microsoft.com/office/drawing/2014/main" id="{97207EE7-C790-AC4C-BD01-54D29145596F}"/>
              </a:ext>
            </a:extLst>
          </p:cNvPr>
          <p:cNvSpPr>
            <a:spLocks noGrp="1"/>
          </p:cNvSpPr>
          <p:nvPr>
            <p:ph idx="1"/>
          </p:nvPr>
        </p:nvSpPr>
        <p:spPr>
          <a:xfrm>
            <a:off x="712380" y="1290387"/>
            <a:ext cx="10623762" cy="4755486"/>
          </a:xfrm>
          <a:prstGeom prst="rect">
            <a:avLst/>
          </a:prstGeom>
        </p:spPr>
        <p:txBody>
          <a:bodyPr/>
          <a:lstStyle>
            <a:lvl1pPr>
              <a:buClr>
                <a:schemeClr val="accent6"/>
              </a:buClr>
              <a:defRPr>
                <a:solidFill>
                  <a:schemeClr val="tx1">
                    <a:lumMod val="85000"/>
                    <a:lumOff val="15000"/>
                  </a:schemeClr>
                </a:solidFill>
                <a:latin typeface="+mj-lt"/>
              </a:defRPr>
            </a:lvl1pPr>
            <a:lvl2pPr>
              <a:buClr>
                <a:schemeClr val="accent6"/>
              </a:buClr>
              <a:defRPr>
                <a:solidFill>
                  <a:schemeClr val="tx1">
                    <a:lumMod val="85000"/>
                    <a:lumOff val="15000"/>
                  </a:schemeClr>
                </a:solidFill>
                <a:latin typeface="+mj-lt"/>
              </a:defRPr>
            </a:lvl2pPr>
            <a:lvl3pPr>
              <a:buClr>
                <a:schemeClr val="accent6"/>
              </a:buClr>
              <a:defRPr>
                <a:solidFill>
                  <a:schemeClr val="tx1">
                    <a:lumMod val="85000"/>
                    <a:lumOff val="15000"/>
                  </a:schemeClr>
                </a:solidFill>
                <a:latin typeface="+mj-lt"/>
              </a:defRPr>
            </a:lvl3pPr>
            <a:lvl4pPr>
              <a:buClr>
                <a:schemeClr val="accent6"/>
              </a:buClr>
              <a:defRPr>
                <a:solidFill>
                  <a:schemeClr val="tx1">
                    <a:lumMod val="85000"/>
                    <a:lumOff val="15000"/>
                  </a:schemeClr>
                </a:solidFill>
                <a:latin typeface="+mj-lt"/>
              </a:defRPr>
            </a:lvl4pPr>
            <a:lvl5pPr>
              <a:buClr>
                <a:schemeClr val="accent6"/>
              </a:buClr>
              <a:defRPr>
                <a:solidFill>
                  <a:schemeClr val="tx1">
                    <a:lumMod val="85000"/>
                    <a:lumOff val="15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ooter Placeholder 4">
            <a:extLst>
              <a:ext uri="{FF2B5EF4-FFF2-40B4-BE49-F238E27FC236}">
                <a16:creationId xmlns:a16="http://schemas.microsoft.com/office/drawing/2014/main" id="{2D0755AD-F676-3047-A2D2-7CFD9D36BB51}"/>
              </a:ext>
            </a:extLst>
          </p:cNvPr>
          <p:cNvSpPr>
            <a:spLocks noGrp="1"/>
          </p:cNvSpPr>
          <p:nvPr>
            <p:ph type="ftr" sz="quarter" idx="3"/>
          </p:nvPr>
        </p:nvSpPr>
        <p:spPr>
          <a:xfrm>
            <a:off x="3851030" y="6491866"/>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Slide Number Placeholder 5">
            <a:extLst>
              <a:ext uri="{FF2B5EF4-FFF2-40B4-BE49-F238E27FC236}">
                <a16:creationId xmlns:a16="http://schemas.microsoft.com/office/drawing/2014/main" id="{861DC1F4-AE4C-A540-8D11-FB086652F711}"/>
              </a:ext>
            </a:extLst>
          </p:cNvPr>
          <p:cNvSpPr>
            <a:spLocks noGrp="1"/>
          </p:cNvSpPr>
          <p:nvPr>
            <p:ph type="sldNum" sz="quarter" idx="4"/>
          </p:nvPr>
        </p:nvSpPr>
        <p:spPr>
          <a:xfrm>
            <a:off x="6744142" y="6492875"/>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21" name="Picture 20">
            <a:extLst>
              <a:ext uri="{FF2B5EF4-FFF2-40B4-BE49-F238E27FC236}">
                <a16:creationId xmlns:a16="http://schemas.microsoft.com/office/drawing/2014/main" id="{C2AF69F6-4BC9-7444-8C44-583B9AC48E44}"/>
              </a:ext>
            </a:extLst>
          </p:cNvPr>
          <p:cNvPicPr>
            <a:picLocks noChangeAspect="1"/>
          </p:cNvPicPr>
          <p:nvPr userDrawn="1"/>
        </p:nvPicPr>
        <p:blipFill>
          <a:blip r:embed="rId2"/>
          <a:stretch>
            <a:fillRect/>
          </a:stretch>
        </p:blipFill>
        <p:spPr>
          <a:xfrm>
            <a:off x="11210760" y="5736515"/>
            <a:ext cx="766958" cy="990385"/>
          </a:xfrm>
          <a:prstGeom prst="rect">
            <a:avLst/>
          </a:prstGeom>
          <a:ln w="19050">
            <a:solidFill>
              <a:schemeClr val="bg1"/>
            </a:solidFill>
          </a:ln>
        </p:spPr>
      </p:pic>
      <p:sp>
        <p:nvSpPr>
          <p:cNvPr id="22" name="Rectangle 21">
            <a:extLst>
              <a:ext uri="{FF2B5EF4-FFF2-40B4-BE49-F238E27FC236}">
                <a16:creationId xmlns:a16="http://schemas.microsoft.com/office/drawing/2014/main" id="{13708847-A686-E34B-B146-411C28A25638}"/>
              </a:ext>
            </a:extLst>
          </p:cNvPr>
          <p:cNvSpPr/>
          <p:nvPr userDrawn="1"/>
        </p:nvSpPr>
        <p:spPr>
          <a:xfrm>
            <a:off x="11066959" y="5960299"/>
            <a:ext cx="1063173" cy="525969"/>
          </a:xfrm>
          <a:prstGeom prst="rect">
            <a:avLst/>
          </a:prstGeom>
          <a:solidFill>
            <a:schemeClr val="accent2">
              <a:alpha val="8488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16">
            <a:extLst>
              <a:ext uri="{FF2B5EF4-FFF2-40B4-BE49-F238E27FC236}">
                <a16:creationId xmlns:a16="http://schemas.microsoft.com/office/drawing/2014/main" id="{27D00C30-24E8-F943-97C6-D4A81F18B7D0}"/>
              </a:ext>
            </a:extLst>
          </p:cNvPr>
          <p:cNvSpPr>
            <a:spLocks noGrp="1"/>
          </p:cNvSpPr>
          <p:nvPr>
            <p:ph type="body" sz="quarter" idx="10" hasCustomPrompt="1"/>
          </p:nvPr>
        </p:nvSpPr>
        <p:spPr>
          <a:xfrm>
            <a:off x="11066960" y="6182827"/>
            <a:ext cx="1054560" cy="321197"/>
          </a:xfrm>
          <a:prstGeom prst="rect">
            <a:avLst/>
          </a:prstGeom>
        </p:spPr>
        <p:txBody>
          <a:bodyPr/>
          <a:lstStyle>
            <a:lvl1pPr marL="0" indent="0" algn="ctr">
              <a:buNone/>
              <a:defRPr sz="1800" b="1"/>
            </a:lvl1pPr>
          </a:lstStyle>
          <a:p>
            <a:pPr lvl="0"/>
            <a:r>
              <a:rPr lang="en-US"/>
              <a:t>#</a:t>
            </a:r>
          </a:p>
        </p:txBody>
      </p:sp>
      <p:sp>
        <p:nvSpPr>
          <p:cNvPr id="24" name="Freeform 23">
            <a:extLst>
              <a:ext uri="{FF2B5EF4-FFF2-40B4-BE49-F238E27FC236}">
                <a16:creationId xmlns:a16="http://schemas.microsoft.com/office/drawing/2014/main" id="{D222E612-1A36-4143-8AFC-2C3E252ED80E}"/>
              </a:ext>
            </a:extLst>
          </p:cNvPr>
          <p:cNvSpPr/>
          <p:nvPr userDrawn="1"/>
        </p:nvSpPr>
        <p:spPr>
          <a:xfrm>
            <a:off x="165476"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24">
            <a:extLst>
              <a:ext uri="{FF2B5EF4-FFF2-40B4-BE49-F238E27FC236}">
                <a16:creationId xmlns:a16="http://schemas.microsoft.com/office/drawing/2014/main" id="{3B2C926A-0DD1-684E-AE5E-9B72F29944B5}"/>
              </a:ext>
            </a:extLst>
          </p:cNvPr>
          <p:cNvSpPr/>
          <p:nvPr userDrawn="1"/>
        </p:nvSpPr>
        <p:spPr>
          <a:xfrm>
            <a:off x="0" y="-8601"/>
            <a:ext cx="1160585" cy="1014700"/>
          </a:xfrm>
          <a:custGeom>
            <a:avLst/>
            <a:gdLst>
              <a:gd name="connsiteX0" fmla="*/ 1825938 w 2315066"/>
              <a:gd name="connsiteY0" fmla="*/ 1 h 1758462"/>
              <a:gd name="connsiteX1" fmla="*/ 2315066 w 2315066"/>
              <a:gd name="connsiteY1" fmla="*/ 879232 h 1758462"/>
              <a:gd name="connsiteX2" fmla="*/ 1825938 w 2315066"/>
              <a:gd name="connsiteY2" fmla="*/ 1758462 h 1758462"/>
              <a:gd name="connsiteX3" fmla="*/ 0 w 2315066"/>
              <a:gd name="connsiteY3" fmla="*/ 0 h 1758462"/>
              <a:gd name="connsiteX4" fmla="*/ 836040 w 2315066"/>
              <a:gd name="connsiteY4" fmla="*/ 0 h 1758462"/>
              <a:gd name="connsiteX5" fmla="*/ 996462 w 2315066"/>
              <a:gd name="connsiteY5" fmla="*/ 0 h 1758462"/>
              <a:gd name="connsiteX6" fmla="*/ 1825937 w 2315066"/>
              <a:gd name="connsiteY6" fmla="*/ 0 h 1758462"/>
              <a:gd name="connsiteX7" fmla="*/ 1825937 w 2315066"/>
              <a:gd name="connsiteY7" fmla="*/ 1758461 h 1758462"/>
              <a:gd name="connsiteX8" fmla="*/ 996462 w 2315066"/>
              <a:gd name="connsiteY8" fmla="*/ 1758461 h 1758462"/>
              <a:gd name="connsiteX9" fmla="*/ 996462 w 2315066"/>
              <a:gd name="connsiteY9" fmla="*/ 1758462 h 1758462"/>
              <a:gd name="connsiteX10" fmla="*/ 0 w 2315066"/>
              <a:gd name="connsiteY10" fmla="*/ 1758462 h 17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5066" h="1758462">
                <a:moveTo>
                  <a:pt x="1825938" y="1"/>
                </a:moveTo>
                <a:lnTo>
                  <a:pt x="2315066" y="879232"/>
                </a:lnTo>
                <a:lnTo>
                  <a:pt x="1825938" y="1758462"/>
                </a:lnTo>
                <a:close/>
                <a:moveTo>
                  <a:pt x="0" y="0"/>
                </a:moveTo>
                <a:lnTo>
                  <a:pt x="836040" y="0"/>
                </a:lnTo>
                <a:lnTo>
                  <a:pt x="996462" y="0"/>
                </a:lnTo>
                <a:lnTo>
                  <a:pt x="1825937" y="0"/>
                </a:lnTo>
                <a:lnTo>
                  <a:pt x="1825937" y="1758461"/>
                </a:lnTo>
                <a:lnTo>
                  <a:pt x="996462" y="1758461"/>
                </a:lnTo>
                <a:lnTo>
                  <a:pt x="996462" y="1758462"/>
                </a:lnTo>
                <a:lnTo>
                  <a:pt x="0" y="175846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6" name="Picture 25" descr="Logo&#10;&#10;Description automatically generated">
            <a:extLst>
              <a:ext uri="{FF2B5EF4-FFF2-40B4-BE49-F238E27FC236}">
                <a16:creationId xmlns:a16="http://schemas.microsoft.com/office/drawing/2014/main" id="{1AEDF18C-DF70-2B42-ADE2-A29A4FBBDA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5488" y="6256523"/>
            <a:ext cx="1019318" cy="502864"/>
          </a:xfrm>
          <a:prstGeom prst="rect">
            <a:avLst/>
          </a:prstGeom>
        </p:spPr>
      </p:pic>
      <p:sp>
        <p:nvSpPr>
          <p:cNvPr id="9" name="TextBox 8">
            <a:extLst>
              <a:ext uri="{FF2B5EF4-FFF2-40B4-BE49-F238E27FC236}">
                <a16:creationId xmlns:a16="http://schemas.microsoft.com/office/drawing/2014/main" id="{3F717B55-7128-A048-A13B-D142D60C1111}"/>
              </a:ext>
            </a:extLst>
          </p:cNvPr>
          <p:cNvSpPr txBox="1"/>
          <p:nvPr userDrawn="1"/>
        </p:nvSpPr>
        <p:spPr>
          <a:xfrm>
            <a:off x="11289555" y="5901684"/>
            <a:ext cx="922482" cy="338554"/>
          </a:xfrm>
          <a:prstGeom prst="rect">
            <a:avLst/>
          </a:prstGeom>
          <a:noFill/>
        </p:spPr>
        <p:txBody>
          <a:bodyPr wrap="square" rtlCol="0">
            <a:spAutoFit/>
          </a:bodyPr>
          <a:lstStyle/>
          <a:p>
            <a:r>
              <a:rPr lang="en-US" sz="1600" b="1">
                <a:solidFill>
                  <a:schemeClr val="bg1"/>
                </a:solidFill>
              </a:rPr>
              <a:t>Page:</a:t>
            </a:r>
          </a:p>
        </p:txBody>
      </p:sp>
    </p:spTree>
    <p:extLst>
      <p:ext uri="{BB962C8B-B14F-4D97-AF65-F5344CB8AC3E}">
        <p14:creationId xmlns:p14="http://schemas.microsoft.com/office/powerpoint/2010/main" val="21610753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9" name="Picture 8" descr="A person sitting at a table using a computer&#10;&#10;Description automatically generated">
            <a:extLst>
              <a:ext uri="{FF2B5EF4-FFF2-40B4-BE49-F238E27FC236}">
                <a16:creationId xmlns:a16="http://schemas.microsoft.com/office/drawing/2014/main" id="{2AFB75DA-507B-49C7-AF61-6082C60AA5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ACAEE248-9D3D-49C6-8EE7-E92B72A56706}"/>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5863616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descr="A person standing in front of a building&#10;&#10;Description automatically generated">
            <a:extLst>
              <a:ext uri="{FF2B5EF4-FFF2-40B4-BE49-F238E27FC236}">
                <a16:creationId xmlns:a16="http://schemas.microsoft.com/office/drawing/2014/main" id="{FC71575C-C364-4572-8669-D88A17DF97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10" name="Rectangle 9">
            <a:extLst>
              <a:ext uri="{FF2B5EF4-FFF2-40B4-BE49-F238E27FC236}">
                <a16:creationId xmlns:a16="http://schemas.microsoft.com/office/drawing/2014/main" id="{C1BB1492-D555-4D11-82A4-AA6762E2C615}"/>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4106784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4" name="Picture 3" descr="A group of people standing in front of a store&#10;&#10;Description automatically generated">
            <a:extLst>
              <a:ext uri="{FF2B5EF4-FFF2-40B4-BE49-F238E27FC236}">
                <a16:creationId xmlns:a16="http://schemas.microsoft.com/office/drawing/2014/main" id="{8253B961-8EB3-4054-82F4-F700F2A681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EF4A0DE0-1D50-485A-B7F2-94660FDFD0EB}"/>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Resources</a:t>
            </a:r>
          </a:p>
        </p:txBody>
      </p:sp>
    </p:spTree>
    <p:extLst>
      <p:ext uri="{BB962C8B-B14F-4D97-AF65-F5344CB8AC3E}">
        <p14:creationId xmlns:p14="http://schemas.microsoft.com/office/powerpoint/2010/main" val="12583822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5" name="Picture 4" descr="A group of people posing for the camera&#10;&#10;Description automatically generated">
            <a:extLst>
              <a:ext uri="{FF2B5EF4-FFF2-40B4-BE49-F238E27FC236}">
                <a16:creationId xmlns:a16="http://schemas.microsoft.com/office/drawing/2014/main" id="{81878E88-6A3C-41E3-B291-B7BC76A2D0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9187716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2520437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5025026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699522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573850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38268492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0346161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2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grpSp>
        <p:nvGrpSpPr>
          <p:cNvPr id="14" name="Group 13">
            <a:extLst>
              <a:ext uri="{FF2B5EF4-FFF2-40B4-BE49-F238E27FC236}">
                <a16:creationId xmlns:a16="http://schemas.microsoft.com/office/drawing/2014/main" id="{1436E59F-4C3A-47CB-B433-E72570CB8E4D}"/>
              </a:ext>
            </a:extLst>
          </p:cNvPr>
          <p:cNvGrpSpPr/>
          <p:nvPr userDrawn="1"/>
        </p:nvGrpSpPr>
        <p:grpSpPr>
          <a:xfrm>
            <a:off x="10488859" y="838172"/>
            <a:ext cx="1531420" cy="1434182"/>
            <a:chOff x="10212087" y="1105219"/>
            <a:chExt cx="1531420" cy="1434182"/>
          </a:xfrm>
        </p:grpSpPr>
        <p:pic>
          <p:nvPicPr>
            <p:cNvPr id="15" name="Graphic 14" descr="Label">
              <a:extLst>
                <a:ext uri="{FF2B5EF4-FFF2-40B4-BE49-F238E27FC236}">
                  <a16:creationId xmlns:a16="http://schemas.microsoft.com/office/drawing/2014/main" id="{F2D456C1-9FDF-4AF6-8FBA-412D7DC2D7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09325" y="1105219"/>
              <a:ext cx="1434182" cy="1434182"/>
            </a:xfrm>
            <a:prstGeom prst="rect">
              <a:avLst/>
            </a:prstGeom>
          </p:spPr>
        </p:pic>
        <p:sp>
          <p:nvSpPr>
            <p:cNvPr id="16" name="Hexagon 15">
              <a:extLst>
                <a:ext uri="{FF2B5EF4-FFF2-40B4-BE49-F238E27FC236}">
                  <a16:creationId xmlns:a16="http://schemas.microsoft.com/office/drawing/2014/main" id="{D56840C6-E40C-4CEA-89BE-F89AA9E6CA5A}"/>
                </a:ext>
              </a:extLst>
            </p:cNvPr>
            <p:cNvSpPr/>
            <p:nvPr/>
          </p:nvSpPr>
          <p:spPr>
            <a:xfrm>
              <a:off x="10212087" y="110899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5C0DAD38-A06F-4FB9-BA77-56B33F46A20B}"/>
              </a:ext>
            </a:extLst>
          </p:cNvPr>
          <p:cNvGrpSpPr/>
          <p:nvPr userDrawn="1"/>
        </p:nvGrpSpPr>
        <p:grpSpPr>
          <a:xfrm>
            <a:off x="9210675" y="88334"/>
            <a:ext cx="1505718" cy="1380122"/>
            <a:chOff x="8710729" y="364553"/>
            <a:chExt cx="1505718" cy="1380122"/>
          </a:xfrm>
        </p:grpSpPr>
        <p:pic>
          <p:nvPicPr>
            <p:cNvPr id="18" name="Graphic 17" descr="Sign">
              <a:extLst>
                <a:ext uri="{FF2B5EF4-FFF2-40B4-BE49-F238E27FC236}">
                  <a16:creationId xmlns:a16="http://schemas.microsoft.com/office/drawing/2014/main" id="{DFED89AA-08F8-41B9-B3E1-DBE993BD2F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96971" y="489327"/>
              <a:ext cx="1110491" cy="1110491"/>
            </a:xfrm>
            <a:prstGeom prst="rect">
              <a:avLst/>
            </a:prstGeom>
          </p:spPr>
        </p:pic>
        <p:sp>
          <p:nvSpPr>
            <p:cNvPr id="19" name="Hexagon 18">
              <a:extLst>
                <a:ext uri="{FF2B5EF4-FFF2-40B4-BE49-F238E27FC236}">
                  <a16:creationId xmlns:a16="http://schemas.microsoft.com/office/drawing/2014/main" id="{7AD04262-919B-4F35-9BB5-44E524D84574}"/>
                </a:ext>
              </a:extLst>
            </p:cNvPr>
            <p:cNvSpPr/>
            <p:nvPr/>
          </p:nvSpPr>
          <p:spPr>
            <a:xfrm>
              <a:off x="8710729" y="36455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59035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grpSp>
        <p:nvGrpSpPr>
          <p:cNvPr id="14" name="Group 13">
            <a:extLst>
              <a:ext uri="{FF2B5EF4-FFF2-40B4-BE49-F238E27FC236}">
                <a16:creationId xmlns:a16="http://schemas.microsoft.com/office/drawing/2014/main" id="{442F8ABD-09A7-438B-89A7-BA7BF1A4AFE0}"/>
              </a:ext>
            </a:extLst>
          </p:cNvPr>
          <p:cNvGrpSpPr/>
          <p:nvPr userDrawn="1"/>
        </p:nvGrpSpPr>
        <p:grpSpPr>
          <a:xfrm>
            <a:off x="10488859" y="838172"/>
            <a:ext cx="1531420" cy="1434182"/>
            <a:chOff x="10212087" y="1105219"/>
            <a:chExt cx="1531420" cy="1434182"/>
          </a:xfrm>
        </p:grpSpPr>
        <p:pic>
          <p:nvPicPr>
            <p:cNvPr id="15" name="Graphic 14" descr="Label">
              <a:extLst>
                <a:ext uri="{FF2B5EF4-FFF2-40B4-BE49-F238E27FC236}">
                  <a16:creationId xmlns:a16="http://schemas.microsoft.com/office/drawing/2014/main" id="{E41BA59C-A430-4CB7-93DA-F89C913B1A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09325" y="1105219"/>
              <a:ext cx="1434182" cy="1434182"/>
            </a:xfrm>
            <a:prstGeom prst="rect">
              <a:avLst/>
            </a:prstGeom>
          </p:spPr>
        </p:pic>
        <p:sp>
          <p:nvSpPr>
            <p:cNvPr id="16" name="Hexagon 15">
              <a:extLst>
                <a:ext uri="{FF2B5EF4-FFF2-40B4-BE49-F238E27FC236}">
                  <a16:creationId xmlns:a16="http://schemas.microsoft.com/office/drawing/2014/main" id="{7F7CBB8C-5B5E-4FA8-B3D7-34FB339E3632}"/>
                </a:ext>
              </a:extLst>
            </p:cNvPr>
            <p:cNvSpPr/>
            <p:nvPr/>
          </p:nvSpPr>
          <p:spPr>
            <a:xfrm>
              <a:off x="10212087" y="110899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AD1DCC2A-2181-401B-A244-5AA253D60D57}"/>
              </a:ext>
            </a:extLst>
          </p:cNvPr>
          <p:cNvGrpSpPr/>
          <p:nvPr userDrawn="1"/>
        </p:nvGrpSpPr>
        <p:grpSpPr>
          <a:xfrm>
            <a:off x="9210675" y="88334"/>
            <a:ext cx="1505718" cy="1380122"/>
            <a:chOff x="8710729" y="364553"/>
            <a:chExt cx="1505718" cy="1380122"/>
          </a:xfrm>
        </p:grpSpPr>
        <p:pic>
          <p:nvPicPr>
            <p:cNvPr id="18" name="Graphic 17" descr="Sign">
              <a:extLst>
                <a:ext uri="{FF2B5EF4-FFF2-40B4-BE49-F238E27FC236}">
                  <a16:creationId xmlns:a16="http://schemas.microsoft.com/office/drawing/2014/main" id="{938C0F2E-B6D7-4319-B441-EDA370531DB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96971" y="489327"/>
              <a:ext cx="1110491" cy="1110491"/>
            </a:xfrm>
            <a:prstGeom prst="rect">
              <a:avLst/>
            </a:prstGeom>
          </p:spPr>
        </p:pic>
        <p:sp>
          <p:nvSpPr>
            <p:cNvPr id="19" name="Hexagon 18">
              <a:extLst>
                <a:ext uri="{FF2B5EF4-FFF2-40B4-BE49-F238E27FC236}">
                  <a16:creationId xmlns:a16="http://schemas.microsoft.com/office/drawing/2014/main" id="{8DCDDA60-810B-4003-AB42-D2A80E08B363}"/>
                </a:ext>
              </a:extLst>
            </p:cNvPr>
            <p:cNvSpPr/>
            <p:nvPr/>
          </p:nvSpPr>
          <p:spPr>
            <a:xfrm>
              <a:off x="8710729" y="364553"/>
              <a:ext cx="1505718" cy="1380122"/>
            </a:xfrm>
            <a:prstGeom prst="hexagon">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Content Placeholder 20">
            <a:extLst>
              <a:ext uri="{FF2B5EF4-FFF2-40B4-BE49-F238E27FC236}">
                <a16:creationId xmlns:a16="http://schemas.microsoft.com/office/drawing/2014/main" id="{D72FF945-A9DA-477A-9CDF-CA3D5C7FB5AB}"/>
              </a:ext>
            </a:extLst>
          </p:cNvPr>
          <p:cNvSpPr>
            <a:spLocks noGrp="1"/>
          </p:cNvSpPr>
          <p:nvPr>
            <p:ph sz="quarter" idx="10"/>
          </p:nvPr>
        </p:nvSpPr>
        <p:spPr>
          <a:xfrm>
            <a:off x="712788" y="1527175"/>
            <a:ext cx="4441103" cy="4267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id="{65E3A53E-E8D4-4089-B534-AC5E55BAC241}"/>
              </a:ext>
            </a:extLst>
          </p:cNvPr>
          <p:cNvSpPr>
            <a:spLocks noGrp="1"/>
          </p:cNvSpPr>
          <p:nvPr>
            <p:ph sz="quarter" idx="11"/>
          </p:nvPr>
        </p:nvSpPr>
        <p:spPr>
          <a:xfrm>
            <a:off x="5392445" y="1518742"/>
            <a:ext cx="4200525" cy="4267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48499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35943931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38972976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8982365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15490124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22585480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348835057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Copyright ©Texas Education Agency, 2020.  All rights reserved.</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36E0BB99-4BC6-4A0C-8A2D-DFAC2B0823DA}" type="slidenum">
              <a:rPr lang="en-US" smtClean="0"/>
              <a:t>‹#›</a:t>
            </a:fld>
            <a:endParaRPr lang="en-US"/>
          </a:p>
        </p:txBody>
      </p:sp>
    </p:spTree>
    <p:extLst>
      <p:ext uri="{BB962C8B-B14F-4D97-AF65-F5344CB8AC3E}">
        <p14:creationId xmlns:p14="http://schemas.microsoft.com/office/powerpoint/2010/main" val="10696307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Copyright ©Texas Education Agency, 2020.  All rights reserved.</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36E0BB99-4BC6-4A0C-8A2D-DFAC2B0823DA}" type="slidenum">
              <a:rPr lang="en-US" smtClean="0"/>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302641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98.xml"/><Relationship Id="rId7" Type="http://schemas.openxmlformats.org/officeDocument/2006/relationships/image" Target="../media/image14.png"/><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theme" Target="../theme/theme10.xml"/><Relationship Id="rId5" Type="http://schemas.openxmlformats.org/officeDocument/2006/relationships/slideLayout" Target="../slideLayouts/slideLayout300.xml"/><Relationship Id="rId4" Type="http://schemas.openxmlformats.org/officeDocument/2006/relationships/slideLayout" Target="../slideLayouts/slideLayout29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3" Type="http://schemas.openxmlformats.org/officeDocument/2006/relationships/slideLayout" Target="../slideLayouts/slideLayout303.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2" Type="http://schemas.openxmlformats.org/officeDocument/2006/relationships/slideLayout" Target="../slideLayouts/slideLayout302.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5" Type="http://schemas.openxmlformats.org/officeDocument/2006/relationships/slideLayout" Target="../slideLayouts/slideLayout305.xml"/><Relationship Id="rId10" Type="http://schemas.openxmlformats.org/officeDocument/2006/relationships/slideLayout" Target="../slideLayouts/slideLayout310.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slideLayout" Target="../slideLayouts/slideLayout80.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41" Type="http://schemas.openxmlformats.org/officeDocument/2006/relationships/slideLayout" Target="../slideLayouts/slideLayout79.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41" Type="http://schemas.openxmlformats.org/officeDocument/2006/relationships/slideLayout" Target="../slideLayouts/slideLayout121.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theme" Target="../theme/theme3.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theme" Target="../theme/theme4.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theme" Target="../theme/theme5.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31" Type="http://schemas.openxmlformats.org/officeDocument/2006/relationships/theme" Target="../theme/theme6.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slideLayout" Target="../slideLayouts/slideLayout22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26" Type="http://schemas.openxmlformats.org/officeDocument/2006/relationships/slideLayout" Target="../slideLayouts/slideLayout246.xml"/><Relationship Id="rId39" Type="http://schemas.openxmlformats.org/officeDocument/2006/relationships/slideLayout" Target="../slideLayouts/slideLayout259.xml"/><Relationship Id="rId21" Type="http://schemas.openxmlformats.org/officeDocument/2006/relationships/slideLayout" Target="../slideLayouts/slideLayout241.xml"/><Relationship Id="rId34" Type="http://schemas.openxmlformats.org/officeDocument/2006/relationships/slideLayout" Target="../slideLayouts/slideLayout254.xml"/><Relationship Id="rId42" Type="http://schemas.openxmlformats.org/officeDocument/2006/relationships/slideLayout" Target="../slideLayouts/slideLayout262.xml"/><Relationship Id="rId47" Type="http://schemas.openxmlformats.org/officeDocument/2006/relationships/slideLayout" Target="../slideLayouts/slideLayout267.xml"/><Relationship Id="rId50" Type="http://schemas.openxmlformats.org/officeDocument/2006/relationships/slideLayout" Target="../slideLayouts/slideLayout270.xml"/><Relationship Id="rId55" Type="http://schemas.openxmlformats.org/officeDocument/2006/relationships/theme" Target="../theme/theme7.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slideLayout" Target="../slideLayouts/slideLayout245.xml"/><Relationship Id="rId33" Type="http://schemas.openxmlformats.org/officeDocument/2006/relationships/slideLayout" Target="../slideLayouts/slideLayout253.xml"/><Relationship Id="rId38" Type="http://schemas.openxmlformats.org/officeDocument/2006/relationships/slideLayout" Target="../slideLayouts/slideLayout258.xml"/><Relationship Id="rId46" Type="http://schemas.openxmlformats.org/officeDocument/2006/relationships/slideLayout" Target="../slideLayouts/slideLayout266.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29" Type="http://schemas.openxmlformats.org/officeDocument/2006/relationships/slideLayout" Target="../slideLayouts/slideLayout249.xml"/><Relationship Id="rId41" Type="http://schemas.openxmlformats.org/officeDocument/2006/relationships/slideLayout" Target="../slideLayouts/slideLayout261.xml"/><Relationship Id="rId54" Type="http://schemas.openxmlformats.org/officeDocument/2006/relationships/slideLayout" Target="../slideLayouts/slideLayout274.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24" Type="http://schemas.openxmlformats.org/officeDocument/2006/relationships/slideLayout" Target="../slideLayouts/slideLayout244.xml"/><Relationship Id="rId32" Type="http://schemas.openxmlformats.org/officeDocument/2006/relationships/slideLayout" Target="../slideLayouts/slideLayout252.xml"/><Relationship Id="rId37" Type="http://schemas.openxmlformats.org/officeDocument/2006/relationships/slideLayout" Target="../slideLayouts/slideLayout257.xml"/><Relationship Id="rId40" Type="http://schemas.openxmlformats.org/officeDocument/2006/relationships/slideLayout" Target="../slideLayouts/slideLayout260.xml"/><Relationship Id="rId45" Type="http://schemas.openxmlformats.org/officeDocument/2006/relationships/slideLayout" Target="../slideLayouts/slideLayout265.xml"/><Relationship Id="rId53" Type="http://schemas.openxmlformats.org/officeDocument/2006/relationships/slideLayout" Target="../slideLayouts/slideLayout273.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slideLayout" Target="../slideLayouts/slideLayout248.xml"/><Relationship Id="rId36" Type="http://schemas.openxmlformats.org/officeDocument/2006/relationships/slideLayout" Target="../slideLayouts/slideLayout256.xml"/><Relationship Id="rId49" Type="http://schemas.openxmlformats.org/officeDocument/2006/relationships/slideLayout" Target="../slideLayouts/slideLayout269.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31" Type="http://schemas.openxmlformats.org/officeDocument/2006/relationships/slideLayout" Target="../slideLayouts/slideLayout251.xml"/><Relationship Id="rId44" Type="http://schemas.openxmlformats.org/officeDocument/2006/relationships/slideLayout" Target="../slideLayouts/slideLayout264.xml"/><Relationship Id="rId52" Type="http://schemas.openxmlformats.org/officeDocument/2006/relationships/slideLayout" Target="../slideLayouts/slideLayout272.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slideLayout" Target="../slideLayouts/slideLayout247.xml"/><Relationship Id="rId30" Type="http://schemas.openxmlformats.org/officeDocument/2006/relationships/slideLayout" Target="../slideLayouts/slideLayout250.xml"/><Relationship Id="rId35" Type="http://schemas.openxmlformats.org/officeDocument/2006/relationships/slideLayout" Target="../slideLayouts/slideLayout255.xml"/><Relationship Id="rId43" Type="http://schemas.openxmlformats.org/officeDocument/2006/relationships/slideLayout" Target="../slideLayouts/slideLayout263.xml"/><Relationship Id="rId48" Type="http://schemas.openxmlformats.org/officeDocument/2006/relationships/slideLayout" Target="../slideLayouts/slideLayout268.xml"/><Relationship Id="rId8" Type="http://schemas.openxmlformats.org/officeDocument/2006/relationships/slideLayout" Target="../slideLayouts/slideLayout228.xml"/><Relationship Id="rId51" Type="http://schemas.openxmlformats.org/officeDocument/2006/relationships/slideLayout" Target="../slideLayouts/slideLayout271.xml"/><Relationship Id="rId3" Type="http://schemas.openxmlformats.org/officeDocument/2006/relationships/slideLayout" Target="../slideLayouts/slideLayout22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3" Type="http://schemas.openxmlformats.org/officeDocument/2006/relationships/slideLayout" Target="../slideLayouts/slideLayout277.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2" Type="http://schemas.openxmlformats.org/officeDocument/2006/relationships/slideLayout" Target="../slideLayouts/slideLayout276.xml"/><Relationship Id="rId16" Type="http://schemas.openxmlformats.org/officeDocument/2006/relationships/image" Target="../media/image15.png"/><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theme" Target="../theme/theme8.xml"/><Relationship Id="rId10" Type="http://schemas.openxmlformats.org/officeDocument/2006/relationships/slideLayout" Target="../slideLayouts/slideLayout284.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291.xml"/><Relationship Id="rId7" Type="http://schemas.openxmlformats.org/officeDocument/2006/relationships/slideLayout" Target="../slideLayouts/slideLayout295.xml"/><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5" Type="http://schemas.openxmlformats.org/officeDocument/2006/relationships/slideLayout" Target="../slideLayouts/slideLayout293.xml"/><Relationship Id="rId4" Type="http://schemas.openxmlformats.org/officeDocument/2006/relationships/slideLayout" Target="../slideLayouts/slideLayout292.xml"/><Relationship Id="rId9"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8C4079B5-6E78-40CC-933D-7055C62C03DA}" type="datetimeFigureOut">
              <a:rPr lang="en-US" smtClean="0"/>
              <a:t>3/20/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939B58D8-208E-4C23-9978-2A59D84933E6}"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50489047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4064" r:id="rId5"/>
    <p:sldLayoutId id="2147483721" r:id="rId6"/>
    <p:sldLayoutId id="2147483722" r:id="rId7"/>
    <p:sldLayoutId id="2147483723" r:id="rId8"/>
    <p:sldLayoutId id="2147483724" r:id="rId9"/>
    <p:sldLayoutId id="2147484122"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4066" r:id="rId20"/>
    <p:sldLayoutId id="2147484067" r:id="rId21"/>
    <p:sldLayoutId id="2147484068" r:id="rId22"/>
    <p:sldLayoutId id="2147484069" r:id="rId23"/>
    <p:sldLayoutId id="2147484070" r:id="rId24"/>
    <p:sldLayoutId id="2147484063" r:id="rId25"/>
    <p:sldLayoutId id="2147484058" r:id="rId26"/>
    <p:sldLayoutId id="2147483741" r:id="rId27"/>
    <p:sldLayoutId id="2147483742" r:id="rId28"/>
    <p:sldLayoutId id="2147483743" r:id="rId29"/>
    <p:sldLayoutId id="2147483744" r:id="rId30"/>
    <p:sldLayoutId id="2147483745" r:id="rId31"/>
    <p:sldLayoutId id="2147483746" r:id="rId32"/>
    <p:sldLayoutId id="2147484071" r:id="rId33"/>
    <p:sldLayoutId id="2147484026" r:id="rId34"/>
    <p:sldLayoutId id="2147484027" r:id="rId35"/>
    <p:sldLayoutId id="2147484028" r:id="rId36"/>
    <p:sldLayoutId id="2147483696" r:id="rId37"/>
    <p:sldLayoutId id="2147484129" r:id="rId38"/>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17514"/>
            <a:ext cx="12192000" cy="485775"/>
          </a:xfrm>
          <a:custGeom>
            <a:avLst/>
            <a:gdLst/>
            <a:ahLst/>
            <a:cxnLst/>
            <a:rect l="l" t="t" r="r" b="b"/>
            <a:pathLst>
              <a:path w="12192000" h="485775">
                <a:moveTo>
                  <a:pt x="0" y="485394"/>
                </a:moveTo>
                <a:lnTo>
                  <a:pt x="12192000" y="485394"/>
                </a:lnTo>
                <a:lnTo>
                  <a:pt x="12192000" y="0"/>
                </a:lnTo>
                <a:lnTo>
                  <a:pt x="0" y="0"/>
                </a:lnTo>
                <a:lnTo>
                  <a:pt x="0" y="485394"/>
                </a:lnTo>
                <a:close/>
              </a:path>
            </a:pathLst>
          </a:custGeom>
          <a:solidFill>
            <a:srgbClr val="0D6CB8"/>
          </a:solidFill>
        </p:spPr>
        <p:txBody>
          <a:bodyPr wrap="square" lIns="0" tIns="0" rIns="0" bIns="0" rtlCol="0"/>
          <a:lstStyle/>
          <a:p>
            <a:endParaRPr/>
          </a:p>
        </p:txBody>
      </p:sp>
      <p:pic>
        <p:nvPicPr>
          <p:cNvPr id="17" name="bg object 17"/>
          <p:cNvPicPr/>
          <p:nvPr/>
        </p:nvPicPr>
        <p:blipFill>
          <a:blip r:embed="rId7" cstate="print"/>
          <a:stretch>
            <a:fillRect/>
          </a:stretch>
        </p:blipFill>
        <p:spPr>
          <a:xfrm>
            <a:off x="5597652" y="6063234"/>
            <a:ext cx="996695" cy="398513"/>
          </a:xfrm>
          <a:prstGeom prst="rect">
            <a:avLst/>
          </a:prstGeom>
        </p:spPr>
      </p:pic>
      <p:sp>
        <p:nvSpPr>
          <p:cNvPr id="18" name="bg object 18"/>
          <p:cNvSpPr/>
          <p:nvPr/>
        </p:nvSpPr>
        <p:spPr>
          <a:xfrm>
            <a:off x="0" y="6502908"/>
            <a:ext cx="12192000" cy="123825"/>
          </a:xfrm>
          <a:custGeom>
            <a:avLst/>
            <a:gdLst/>
            <a:ahLst/>
            <a:cxnLst/>
            <a:rect l="l" t="t" r="r" b="b"/>
            <a:pathLst>
              <a:path w="12192000" h="123825">
                <a:moveTo>
                  <a:pt x="12192000" y="0"/>
                </a:moveTo>
                <a:lnTo>
                  <a:pt x="0" y="0"/>
                </a:lnTo>
                <a:lnTo>
                  <a:pt x="0" y="123444"/>
                </a:lnTo>
                <a:lnTo>
                  <a:pt x="12192000" y="123444"/>
                </a:lnTo>
                <a:lnTo>
                  <a:pt x="12192000" y="0"/>
                </a:lnTo>
                <a:close/>
              </a:path>
            </a:pathLst>
          </a:custGeom>
          <a:solidFill>
            <a:srgbClr val="F05F38"/>
          </a:solidFill>
        </p:spPr>
        <p:txBody>
          <a:bodyPr wrap="square" lIns="0" tIns="0" rIns="0" bIns="0" rtlCol="0"/>
          <a:lstStyle/>
          <a:p>
            <a:endParaRPr/>
          </a:p>
        </p:txBody>
      </p:sp>
      <p:sp>
        <p:nvSpPr>
          <p:cNvPr id="2" name="Holder 2"/>
          <p:cNvSpPr>
            <a:spLocks noGrp="1"/>
          </p:cNvSpPr>
          <p:nvPr>
            <p:ph type="title"/>
          </p:nvPr>
        </p:nvSpPr>
        <p:spPr>
          <a:xfrm>
            <a:off x="558504" y="199542"/>
            <a:ext cx="11074991" cy="574040"/>
          </a:xfrm>
          <a:prstGeom prst="rect">
            <a:avLst/>
          </a:prstGeom>
        </p:spPr>
        <p:txBody>
          <a:bodyPr wrap="square" lIns="0" tIns="0" rIns="0" bIns="0">
            <a:spAutoFit/>
          </a:bodyPr>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a:xfrm>
            <a:off x="322050" y="1054135"/>
            <a:ext cx="5478780" cy="4798695"/>
          </a:xfrm>
          <a:prstGeom prst="rect">
            <a:avLst/>
          </a:prstGeom>
        </p:spPr>
        <p:txBody>
          <a:bodyPr wrap="square" lIns="0" tIns="0" rIns="0" bIns="0">
            <a:spAutoFit/>
          </a:bodyPr>
          <a:lstStyle>
            <a:lvl1pPr>
              <a:defRPr sz="2800" b="0" i="0">
                <a:solidFill>
                  <a:srgbClr val="0D6CB8"/>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20/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D31117-3D07-A7F2-28C3-68DF77BD9D2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26BA38-592B-756F-B9AA-F96388F941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EA1737-5F1F-D72E-5A1B-AD3D37A979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818113-709D-411A-AD3A-850D96D2CC46}" type="datetimeFigureOut">
              <a:rPr lang="en-US" smtClean="0"/>
              <a:t>3/20/2023</a:t>
            </a:fld>
            <a:endParaRPr lang="en-US"/>
          </a:p>
        </p:txBody>
      </p:sp>
      <p:sp>
        <p:nvSpPr>
          <p:cNvPr id="5" name="Footer Placeholder 4">
            <a:extLst>
              <a:ext uri="{FF2B5EF4-FFF2-40B4-BE49-F238E27FC236}">
                <a16:creationId xmlns:a16="http://schemas.microsoft.com/office/drawing/2014/main" id="{655D17D4-15A5-8C59-64AD-59DCFA4630C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2265073-3147-C95E-41A3-B0BDE531AA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EB46D3-E325-44EC-8F21-8FDA453E8519}" type="slidenum">
              <a:rPr lang="en-US" smtClean="0"/>
              <a:t>‹#›</a:t>
            </a:fld>
            <a:endParaRPr lang="en-US"/>
          </a:p>
        </p:txBody>
      </p:sp>
    </p:spTree>
    <p:extLst>
      <p:ext uri="{BB962C8B-B14F-4D97-AF65-F5344CB8AC3E}">
        <p14:creationId xmlns:p14="http://schemas.microsoft.com/office/powerpoint/2010/main" val="36019283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8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solidFill>
                  <a:schemeClr val="accent1">
                    <a:lumMod val="60000"/>
                    <a:lumOff val="40000"/>
                  </a:schemeClr>
                </a:solidFill>
              </a:rPr>
              <a:t>Footer</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C5C05D33-2F5D-482A-8D2C-D96EBC369FAA}" type="datetime1">
              <a:rPr lang="en-US" smtClean="0">
                <a:solidFill>
                  <a:schemeClr val="accent1">
                    <a:lumMod val="60000"/>
                    <a:lumOff val="40000"/>
                  </a:schemeClr>
                </a:solidFill>
              </a:rPr>
              <a:pPr/>
              <a:t>3/20/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835526430"/>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 id="2147483989" r:id="rId15"/>
    <p:sldLayoutId id="2147483990" r:id="rId16"/>
    <p:sldLayoutId id="2147483991" r:id="rId17"/>
    <p:sldLayoutId id="2147483992" r:id="rId18"/>
    <p:sldLayoutId id="2147483993" r:id="rId19"/>
    <p:sldLayoutId id="2147483994" r:id="rId20"/>
    <p:sldLayoutId id="2147483995" r:id="rId21"/>
    <p:sldLayoutId id="2147483996" r:id="rId22"/>
    <p:sldLayoutId id="2147483997" r:id="rId23"/>
    <p:sldLayoutId id="2147483998" r:id="rId24"/>
    <p:sldLayoutId id="2147483999" r:id="rId25"/>
    <p:sldLayoutId id="2147484000" r:id="rId26"/>
    <p:sldLayoutId id="2147484001" r:id="rId27"/>
    <p:sldLayoutId id="2147484002" r:id="rId28"/>
    <p:sldLayoutId id="2147484003" r:id="rId29"/>
    <p:sldLayoutId id="2147484004" r:id="rId30"/>
    <p:sldLayoutId id="2147484005" r:id="rId31"/>
    <p:sldLayoutId id="2147484006" r:id="rId32"/>
    <p:sldLayoutId id="2147484007" r:id="rId33"/>
    <p:sldLayoutId id="2147484008" r:id="rId34"/>
    <p:sldLayoutId id="2147483971" r:id="rId35"/>
    <p:sldLayoutId id="2147484022" r:id="rId36"/>
    <p:sldLayoutId id="2147484023" r:id="rId37"/>
    <p:sldLayoutId id="2147484024" r:id="rId38"/>
    <p:sldLayoutId id="2147484025" r:id="rId39"/>
    <p:sldLayoutId id="2147483972" r:id="rId40"/>
    <p:sldLayoutId id="2147483973" r:id="rId41"/>
    <p:sldLayoutId id="2147483936" r:id="rId42"/>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Copyright ©Texas Education Agency, 2020.  All rights reserved.</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36E0BB99-4BC6-4A0C-8A2D-DFAC2B0823DA}"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144686971"/>
      </p:ext>
    </p:extLst>
  </p:cSld>
  <p:clrMap bg1="lt1" tx1="dk1" bg2="lt2" tx2="dk2" accent1="accent1" accent2="accent2" accent3="accent3" accent4="accent4" accent5="accent5" accent6="accent6" hlink="hlink" folHlink="folHlink"/>
  <p:sldLayoutIdLst>
    <p:sldLayoutId id="2147483927" r:id="rId1"/>
    <p:sldLayoutId id="2147484054" r:id="rId2"/>
    <p:sldLayoutId id="2147483929" r:id="rId3"/>
    <p:sldLayoutId id="2147483930" r:id="rId4"/>
    <p:sldLayoutId id="2147484048" r:id="rId5"/>
    <p:sldLayoutId id="2147483932" r:id="rId6"/>
    <p:sldLayoutId id="2147483933" r:id="rId7"/>
    <p:sldLayoutId id="2147484031" r:id="rId8"/>
    <p:sldLayoutId id="2147484040" r:id="rId9"/>
    <p:sldLayoutId id="2147484043" r:id="rId10"/>
    <p:sldLayoutId id="2147484041" r:id="rId11"/>
    <p:sldLayoutId id="2147484042" r:id="rId12"/>
    <p:sldLayoutId id="2147484039" r:id="rId13"/>
    <p:sldLayoutId id="2147484038" r:id="rId14"/>
    <p:sldLayoutId id="2147484037" r:id="rId15"/>
    <p:sldLayoutId id="2147484036" r:id="rId16"/>
    <p:sldLayoutId id="2147484035" r:id="rId17"/>
    <p:sldLayoutId id="2147484034" r:id="rId18"/>
    <p:sldLayoutId id="2147484033" r:id="rId19"/>
    <p:sldLayoutId id="2147484032" r:id="rId20"/>
    <p:sldLayoutId id="2147484044" r:id="rId21"/>
    <p:sldLayoutId id="2147484049" r:id="rId22"/>
    <p:sldLayoutId id="2147484050" r:id="rId23"/>
    <p:sldLayoutId id="2147484052" r:id="rId24"/>
    <p:sldLayoutId id="2147484053" r:id="rId25"/>
    <p:sldLayoutId id="2147484045" r:id="rId26"/>
    <p:sldLayoutId id="2147484046" r:id="rId27"/>
    <p:sldLayoutId id="2147484051" r:id="rId28"/>
    <p:sldLayoutId id="2147483955" r:id="rId29"/>
    <p:sldLayoutId id="2147483956" r:id="rId30"/>
    <p:sldLayoutId id="2147483957" r:id="rId31"/>
    <p:sldLayoutId id="2147483958" r:id="rId32"/>
    <p:sldLayoutId id="2147483959" r:id="rId33"/>
    <p:sldLayoutId id="2147483960" r:id="rId34"/>
    <p:sldLayoutId id="2147483961" r:id="rId35"/>
    <p:sldLayoutId id="2147483962" r:id="rId36"/>
    <p:sldLayoutId id="2147483963" r:id="rId37"/>
    <p:sldLayoutId id="2147483964" r:id="rId38"/>
    <p:sldLayoutId id="2147483965" r:id="rId39"/>
    <p:sldLayoutId id="2147483966" r:id="rId40"/>
    <p:sldLayoutId id="2147483967" r:id="rId41"/>
    <p:sldLayoutId id="2147483968" r:id="rId42"/>
    <p:sldLayoutId id="2147483969" r:id="rId43"/>
    <p:sldLayoutId id="2147483970" r:id="rId44"/>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5BEDEA05-05F9-48DB-869A-21817502D5CE}" type="datetimeFigureOut">
              <a:rPr lang="en-US" smtClean="0"/>
              <a:t>3/20/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B609CC69-4FBF-4249-8482-418E0C403FE2}"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864662089"/>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3681" r:id="rId21"/>
    <p:sldLayoutId id="2147483682" r:id="rId22"/>
    <p:sldLayoutId id="2147483683" r:id="rId23"/>
    <p:sldLayoutId id="2147484009" r:id="rId24"/>
    <p:sldLayoutId id="2147484010" r:id="rId25"/>
    <p:sldLayoutId id="2147484011" r:id="rId26"/>
    <p:sldLayoutId id="2147484012" r:id="rId27"/>
    <p:sldLayoutId id="2147484013" r:id="rId28"/>
    <p:sldLayoutId id="2147484015" r:id="rId29"/>
    <p:sldLayoutId id="2147484014" r:id="rId30"/>
    <p:sldLayoutId id="2147484017" r:id="rId31"/>
    <p:sldLayoutId id="2147484016" r:id="rId32"/>
    <p:sldLayoutId id="2147484018" r:id="rId33"/>
    <p:sldLayoutId id="2147484020" r:id="rId34"/>
    <p:sldLayoutId id="2147484021" r:id="rId35"/>
    <p:sldLayoutId id="2147484019" r:id="rId36"/>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4E1EE938-827D-4597-9138-BE8CA1109EB7}" type="datetimeFigureOut">
              <a:rPr lang="en-US" smtClean="0"/>
              <a:t>3/20/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4BF97041-D008-4D64-BFE7-0DB382371CB6}"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8723484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4072" r:id="rId9"/>
    <p:sldLayoutId id="2147483694" r:id="rId10"/>
    <p:sldLayoutId id="2147484077" r:id="rId11"/>
    <p:sldLayoutId id="214748405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4029" r:id="rId21"/>
    <p:sldLayoutId id="2147484030" r:id="rId22"/>
    <p:sldLayoutId id="2147484073" r:id="rId23"/>
    <p:sldLayoutId id="2147484075" r:id="rId24"/>
    <p:sldLayoutId id="2147484057" r:id="rId25"/>
    <p:sldLayoutId id="2147483710" r:id="rId26"/>
    <p:sldLayoutId id="2147484061" r:id="rId27"/>
    <p:sldLayoutId id="2147483712" r:id="rId28"/>
    <p:sldLayoutId id="2147484060" r:id="rId29"/>
    <p:sldLayoutId id="2147484062" r:id="rId30"/>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accent1"/>
                </a:solidFill>
              </a:defRPr>
            </a:lvl1pPr>
          </a:lstStyle>
          <a:p>
            <a:r>
              <a:rPr lang="en-US"/>
              <a:t>Footer</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accent1"/>
                </a:solidFill>
              </a:defRPr>
            </a:lvl1pPr>
          </a:lstStyle>
          <a:p>
            <a:fld id="{C5C05D33-2F5D-482A-8D2C-D96EBC369FAA}" type="datetime1">
              <a:rPr lang="en-US" smtClean="0"/>
              <a:pPr/>
              <a:t>3/20/2023</a:t>
            </a:fld>
            <a:r>
              <a:rPr lang="en-US"/>
              <a:t>     </a:t>
            </a:r>
            <a:fld id="{EA89072E-2125-40D6-847A-9E6B768971D4}" type="slidenum">
              <a:rPr lang="en-US" smtClean="0"/>
              <a:pPr/>
              <a:t>‹#›</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accent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786492151"/>
      </p:ext>
    </p:extLst>
  </p:cSld>
  <p:clrMap bg1="lt1" tx1="dk1" bg2="lt2" tx2="dk2" accent1="accent1" accent2="accent2" accent3="accent3" accent4="accent4" accent5="accent5" accent6="accent6" hlink="hlink" folHlink="folHlink"/>
  <p:sldLayoutIdLst>
    <p:sldLayoutId id="2147484074" r:id="rId1"/>
    <p:sldLayoutId id="2147483934" r:id="rId2"/>
    <p:sldLayoutId id="2147483946" r:id="rId3"/>
    <p:sldLayoutId id="2147483945" r:id="rId4"/>
    <p:sldLayoutId id="2147483944" r:id="rId5"/>
    <p:sldLayoutId id="2147483943" r:id="rId6"/>
    <p:sldLayoutId id="2147483942" r:id="rId7"/>
    <p:sldLayoutId id="2147483941" r:id="rId8"/>
    <p:sldLayoutId id="2147483940" r:id="rId9"/>
    <p:sldLayoutId id="2147483939" r:id="rId10"/>
    <p:sldLayoutId id="2147483935" r:id="rId11"/>
    <p:sldLayoutId id="2147483937" r:id="rId12"/>
    <p:sldLayoutId id="2147483938" r:id="rId13"/>
    <p:sldLayoutId id="2147484055" r:id="rId14"/>
    <p:sldLayoutId id="2147483947" r:id="rId15"/>
    <p:sldLayoutId id="2147483952" r:id="rId16"/>
    <p:sldLayoutId id="2147483953" r:id="rId17"/>
    <p:sldLayoutId id="2147483926" r:id="rId18"/>
    <p:sldLayoutId id="2147483931" r:id="rId19"/>
    <p:sldLayoutId id="2147483948" r:id="rId20"/>
    <p:sldLayoutId id="2147483949" r:id="rId21"/>
    <p:sldLayoutId id="2147483954" r:id="rId22"/>
    <p:sldLayoutId id="2147483950" r:id="rId23"/>
    <p:sldLayoutId id="2147483951" r:id="rId24"/>
    <p:sldLayoutId id="2147483898" r:id="rId25"/>
    <p:sldLayoutId id="2147483903" r:id="rId26"/>
    <p:sldLayoutId id="2147483901" r:id="rId27"/>
    <p:sldLayoutId id="2147483902" r:id="rId28"/>
    <p:sldLayoutId id="2147483904" r:id="rId29"/>
    <p:sldLayoutId id="2147483928" r:id="rId30"/>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ED1AF071-F5BF-427C-8C52-B64F942EF3E0}" type="datetimeFigureOut">
              <a:rPr lang="en-US" smtClean="0"/>
              <a:t>3/20/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36E0BB99-4BC6-4A0C-8A2D-DFAC2B0823DA}" type="slidenum">
              <a:rPr lang="en-US" smtClean="0"/>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833765895"/>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748" r:id="rId7"/>
    <p:sldLayoutId id="2147483749" r:id="rId8"/>
    <p:sldLayoutId id="2147483750" r:id="rId9"/>
    <p:sldLayoutId id="2147483751" r:id="rId10"/>
    <p:sldLayoutId id="2147483752" r:id="rId11"/>
    <p:sldLayoutId id="2147483753" r:id="rId12"/>
    <p:sldLayoutId id="2147484059" r:id="rId13"/>
    <p:sldLayoutId id="214748406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4078" r:id="rId30"/>
    <p:sldLayoutId id="2147484079" r:id="rId31"/>
    <p:sldLayoutId id="2147483773" r:id="rId32"/>
    <p:sldLayoutId id="2147483774" r:id="rId33"/>
    <p:sldLayoutId id="2147483775" r:id="rId34"/>
    <p:sldLayoutId id="2147483776" r:id="rId35"/>
    <p:sldLayoutId id="2147483777" r:id="rId36"/>
    <p:sldLayoutId id="2147483778" r:id="rId37"/>
    <p:sldLayoutId id="2147483779" r:id="rId38"/>
    <p:sldLayoutId id="2147483780" r:id="rId39"/>
    <p:sldLayoutId id="2147483781" r:id="rId40"/>
    <p:sldLayoutId id="2147483782" r:id="rId41"/>
    <p:sldLayoutId id="2147483783" r:id="rId42"/>
    <p:sldLayoutId id="2147483784" r:id="rId43"/>
    <p:sldLayoutId id="2147483785" r:id="rId44"/>
    <p:sldLayoutId id="2147483786" r:id="rId45"/>
    <p:sldLayoutId id="2147483787" r:id="rId46"/>
    <p:sldLayoutId id="2147483788" r:id="rId47"/>
    <p:sldLayoutId id="2147483789" r:id="rId48"/>
    <p:sldLayoutId id="2147483790" r:id="rId49"/>
    <p:sldLayoutId id="2147483791" r:id="rId50"/>
    <p:sldLayoutId id="2147483792" r:id="rId51"/>
    <p:sldLayoutId id="2147483793" r:id="rId52"/>
    <p:sldLayoutId id="2147483794" r:id="rId53"/>
    <p:sldLayoutId id="2147483795" r:id="rId54"/>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1B43C9F9-418E-4F9F-91CE-E53A1784D67C}" type="datetime1">
              <a:rPr lang="en-US" smtClean="0"/>
              <a:t>3/20/2023</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 2021, Texas Education Agency. All Rights Reserved.</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808656599"/>
      </p:ext>
    </p:extLst>
  </p:cSld>
  <p:clrMap bg1="lt1" tx1="dk1" bg2="lt2" tx2="dk2" accent1="accent1" accent2="accent2" accent3="accent3" accent4="accent4" accent5="accent5" accent6="accent6" hlink="hlink" folHlink="folHlink"/>
  <p:sldLayoutIdLst>
    <p:sldLayoutId id="2147483740" r:id="rId1"/>
    <p:sldLayoutId id="2147483754" r:id="rId2"/>
    <p:sldLayoutId id="2147483713" r:id="rId3"/>
    <p:sldLayoutId id="2147483711" r:id="rId4"/>
    <p:sldLayoutId id="2147483714" r:id="rId5"/>
    <p:sldLayoutId id="2147483739" r:id="rId6"/>
    <p:sldLayoutId id="2147483715" r:id="rId7"/>
    <p:sldLayoutId id="2147483755" r:id="rId8"/>
    <p:sldLayoutId id="2147483734" r:id="rId9"/>
    <p:sldLayoutId id="2147483735" r:id="rId10"/>
    <p:sldLayoutId id="2147483736" r:id="rId11"/>
    <p:sldLayoutId id="2147483737" r:id="rId12"/>
    <p:sldLayoutId id="2147484096" r:id="rId13"/>
    <p:sldLayoutId id="2147483716" r:id="rId14"/>
  </p:sldLayoutIdLst>
  <p:hf hd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507579"/>
            <a:ext cx="2743200" cy="213896"/>
          </a:xfrm>
          <a:prstGeom prst="rect">
            <a:avLst/>
          </a:prstGeom>
        </p:spPr>
        <p:txBody>
          <a:bodyPr vert="horz" lIns="91440" tIns="45720" rIns="91440" bIns="45720" rtlCol="0" anchor="ctr"/>
          <a:lstStyle>
            <a:lvl1pPr algn="l">
              <a:defRPr sz="1200">
                <a:solidFill>
                  <a:schemeClr val="bg1"/>
                </a:solidFill>
              </a:defRPr>
            </a:lvl1pPr>
          </a:lstStyle>
          <a:p>
            <a:fld id="{E2398EA6-CFAE-4AE1-AF26-9F6760FB2352}" type="datetime1">
              <a:rPr lang="en-US" smtClean="0"/>
              <a:t>3/20/2023</a:t>
            </a:fld>
            <a:endParaRPr lang="en-US"/>
          </a:p>
        </p:txBody>
      </p:sp>
      <p:sp>
        <p:nvSpPr>
          <p:cNvPr id="5" name="Footer Placeholder 4"/>
          <p:cNvSpPr>
            <a:spLocks noGrp="1"/>
          </p:cNvSpPr>
          <p:nvPr>
            <p:ph type="ftr" sz="quarter" idx="3"/>
          </p:nvPr>
        </p:nvSpPr>
        <p:spPr>
          <a:xfrm>
            <a:off x="4038600" y="6507579"/>
            <a:ext cx="4114800" cy="213896"/>
          </a:xfrm>
          <a:prstGeom prst="rect">
            <a:avLst/>
          </a:prstGeom>
        </p:spPr>
        <p:txBody>
          <a:bodyPr vert="horz" lIns="91440" tIns="45720" rIns="91440" bIns="45720" rtlCol="0" anchor="ctr"/>
          <a:lstStyle>
            <a:lvl1pPr algn="ctr">
              <a:defRPr sz="1200">
                <a:solidFill>
                  <a:schemeClr val="bg1"/>
                </a:solidFill>
              </a:defRPr>
            </a:lvl1pPr>
          </a:lstStyle>
          <a:p>
            <a:r>
              <a:rPr lang="en-US"/>
              <a:t>© 2021, Texas Education Agency. All Rights Reserved.</a:t>
            </a:r>
          </a:p>
        </p:txBody>
      </p:sp>
      <p:sp>
        <p:nvSpPr>
          <p:cNvPr id="6" name="Slide Number Placeholder 5"/>
          <p:cNvSpPr>
            <a:spLocks noGrp="1"/>
          </p:cNvSpPr>
          <p:nvPr>
            <p:ph type="sldNum" sz="quarter" idx="4"/>
          </p:nvPr>
        </p:nvSpPr>
        <p:spPr>
          <a:xfrm>
            <a:off x="8610600" y="6507579"/>
            <a:ext cx="2743200" cy="213896"/>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730375413"/>
      </p:ext>
    </p:extLst>
  </p:cSld>
  <p:clrMap bg1="lt1" tx1="dk1" bg2="lt2" tx2="dk2" accent1="accent1" accent2="accent2" accent3="accent3" accent4="accent4" accent5="accent5" accent6="accent6" hlink="hlink" folHlink="folHlink"/>
  <p:sldLayoutIdLst>
    <p:sldLayoutId id="2147483707" r:id="rId1"/>
    <p:sldLayoutId id="2147483706" r:id="rId2"/>
    <p:sldLayoutId id="2147483708" r:id="rId3"/>
    <p:sldLayoutId id="2147483705" r:id="rId4"/>
    <p:sldLayoutId id="2147483695" r:id="rId5"/>
    <p:sldLayoutId id="2147483771" r:id="rId6"/>
    <p:sldLayoutId id="2147483772" r:id="rId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6.svg"/><Relationship Id="rId3" Type="http://schemas.openxmlformats.org/officeDocument/2006/relationships/image" Target="../media/image67.png"/><Relationship Id="rId7" Type="http://schemas.openxmlformats.org/officeDocument/2006/relationships/image" Target="../media/image70.png"/><Relationship Id="rId12" Type="http://schemas.openxmlformats.org/officeDocument/2006/relationships/image" Target="../media/image75.png"/><Relationship Id="rId17" Type="http://schemas.openxmlformats.org/officeDocument/2006/relationships/image" Target="../media/image80.svg"/><Relationship Id="rId2" Type="http://schemas.openxmlformats.org/officeDocument/2006/relationships/notesSlide" Target="../notesSlides/notesSlide10.xml"/><Relationship Id="rId16" Type="http://schemas.openxmlformats.org/officeDocument/2006/relationships/image" Target="../media/image79.png"/><Relationship Id="rId1" Type="http://schemas.openxmlformats.org/officeDocument/2006/relationships/slideLayout" Target="../slideLayouts/slideLayout11.xml"/><Relationship Id="rId6" Type="http://schemas.openxmlformats.org/officeDocument/2006/relationships/image" Target="../media/image69.emf"/><Relationship Id="rId11" Type="http://schemas.openxmlformats.org/officeDocument/2006/relationships/image" Target="../media/image74.png"/><Relationship Id="rId5" Type="http://schemas.microsoft.com/office/2007/relationships/hdphoto" Target="../media/hdphoto1.wdp"/><Relationship Id="rId15" Type="http://schemas.openxmlformats.org/officeDocument/2006/relationships/image" Target="../media/image78.svg"/><Relationship Id="rId10" Type="http://schemas.openxmlformats.org/officeDocument/2006/relationships/image" Target="../media/image73.svg"/><Relationship Id="rId4" Type="http://schemas.openxmlformats.org/officeDocument/2006/relationships/image" Target="../media/image68.png"/><Relationship Id="rId9" Type="http://schemas.openxmlformats.org/officeDocument/2006/relationships/image" Target="../media/image72.png"/><Relationship Id="rId14" Type="http://schemas.openxmlformats.org/officeDocument/2006/relationships/image" Target="../media/image77.png"/></Relationships>
</file>

<file path=ppt/slides/_rels/slide12.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83.png"/><Relationship Id="rId7" Type="http://schemas.openxmlformats.org/officeDocument/2006/relationships/diagramColors" Target="../diagrams/colors3.xml"/><Relationship Id="rId2" Type="http://schemas.openxmlformats.org/officeDocument/2006/relationships/notesSlide" Target="../notesSlides/notesSlide13.xml"/><Relationship Id="rId1" Type="http://schemas.openxmlformats.org/officeDocument/2006/relationships/slideLayout" Target="../slideLayouts/slideLayout18.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hyperlink" Target="https://zoom.us/s/92104499509" TargetMode="External"/><Relationship Id="rId2" Type="http://schemas.openxmlformats.org/officeDocument/2006/relationships/notesSlide" Target="../notesSlides/notesSlide18.xml"/><Relationship Id="rId1" Type="http://schemas.openxmlformats.org/officeDocument/2006/relationships/slideLayout" Target="../slideLayouts/slideLayout93.xml"/><Relationship Id="rId4" Type="http://schemas.openxmlformats.org/officeDocument/2006/relationships/hyperlink" Target="https://us02web.zoom.us/webinar/register/WN_AVe0zgVbSDyj7ha6zNVBMQ"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image" Target="../media/image91.png"/><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diagramColors" Target="../diagrams/colors7.xml"/><Relationship Id="rId11" Type="http://schemas.openxmlformats.org/officeDocument/2006/relationships/image" Target="../media/image90.svg"/><Relationship Id="rId5" Type="http://schemas.openxmlformats.org/officeDocument/2006/relationships/diagramQuickStyle" Target="../diagrams/quickStyle7.xml"/><Relationship Id="rId10" Type="http://schemas.openxmlformats.org/officeDocument/2006/relationships/image" Target="../media/image89.png"/><Relationship Id="rId4" Type="http://schemas.openxmlformats.org/officeDocument/2006/relationships/diagramLayout" Target="../diagrams/layout7.xml"/><Relationship Id="rId9" Type="http://schemas.openxmlformats.org/officeDocument/2006/relationships/image" Target="../media/image88.svg"/><Relationship Id="rId1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0.xml"/><Relationship Id="rId1" Type="http://schemas.openxmlformats.org/officeDocument/2006/relationships/slideLayout" Target="../slideLayouts/slideLayout25.xml"/><Relationship Id="rId6" Type="http://schemas.openxmlformats.org/officeDocument/2006/relationships/image" Target="../media/image97.png"/><Relationship Id="rId5" Type="http://schemas.openxmlformats.org/officeDocument/2006/relationships/image" Target="../media/image96.svg"/><Relationship Id="rId4" Type="http://schemas.openxmlformats.org/officeDocument/2006/relationships/image" Target="../media/image95.png"/></Relationships>
</file>

<file path=ppt/slides/_rels/slide2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1.xml"/><Relationship Id="rId1" Type="http://schemas.openxmlformats.org/officeDocument/2006/relationships/slideLayout" Target="../slideLayouts/slideLayout11.xml"/><Relationship Id="rId5" Type="http://schemas.openxmlformats.org/officeDocument/2006/relationships/image" Target="../media/image100.png"/><Relationship Id="rId4" Type="http://schemas.openxmlformats.org/officeDocument/2006/relationships/image" Target="../media/image99.png"/></Relationships>
</file>

<file path=ppt/slides/_rels/slide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2.xml"/><Relationship Id="rId1" Type="http://schemas.openxmlformats.org/officeDocument/2006/relationships/slideLayout" Target="../slideLayouts/slideLayout11.xml"/><Relationship Id="rId4" Type="http://schemas.openxmlformats.org/officeDocument/2006/relationships/image" Target="../media/image10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64.png"/><Relationship Id="rId4" Type="http://schemas.openxmlformats.org/officeDocument/2006/relationships/image" Target="../media/image6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A59769F-A4AD-496A-BF6E-3F7035AB5D88}"/>
              </a:ext>
            </a:extLst>
          </p:cNvPr>
          <p:cNvSpPr>
            <a:spLocks noGrp="1"/>
          </p:cNvSpPr>
          <p:nvPr>
            <p:ph type="ctrTitle"/>
          </p:nvPr>
        </p:nvSpPr>
        <p:spPr>
          <a:xfrm>
            <a:off x="2030819" y="3875964"/>
            <a:ext cx="10004662" cy="2389625"/>
          </a:xfrm>
        </p:spPr>
        <p:txBody>
          <a:bodyPr/>
          <a:lstStyle/>
          <a:p>
            <a:pPr algn="ctr"/>
            <a:r>
              <a:rPr lang="en-US" dirty="0"/>
              <a:t>ESC PEIMS Coordinator Meeting </a:t>
            </a:r>
            <a:br>
              <a:rPr lang="en-US" dirty="0">
                <a:cs typeface="Calibri"/>
              </a:rPr>
            </a:br>
            <a:r>
              <a:rPr lang="en-US" dirty="0">
                <a:cs typeface="Calibri"/>
              </a:rPr>
              <a:t>McKinney-Vento Student Identification </a:t>
            </a:r>
            <a:br>
              <a:rPr lang="en-US" dirty="0"/>
            </a:br>
            <a:r>
              <a:rPr lang="en-US" sz="4400" dirty="0"/>
              <a:t>Wednesday, March 20, 2023 </a:t>
            </a:r>
            <a:br>
              <a:rPr lang="en-US" sz="4400" dirty="0"/>
            </a:br>
            <a:r>
              <a:rPr lang="en-US" sz="4400" dirty="0"/>
              <a:t>1:00pm-1:30pm </a:t>
            </a:r>
            <a:br>
              <a:rPr lang="en-US" dirty="0"/>
            </a:br>
            <a:endParaRPr lang="en-US" dirty="0"/>
          </a:p>
        </p:txBody>
      </p:sp>
    </p:spTree>
    <p:extLst>
      <p:ext uri="{BB962C8B-B14F-4D97-AF65-F5344CB8AC3E}">
        <p14:creationId xmlns:p14="http://schemas.microsoft.com/office/powerpoint/2010/main" val="4092624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2BF5A-BF17-4DEC-804E-234B6701DC05}"/>
              </a:ext>
            </a:extLst>
          </p:cNvPr>
          <p:cNvSpPr>
            <a:spLocks noGrp="1"/>
          </p:cNvSpPr>
          <p:nvPr>
            <p:ph type="title"/>
          </p:nvPr>
        </p:nvSpPr>
        <p:spPr/>
        <p:txBody>
          <a:bodyPr/>
          <a:lstStyle/>
          <a:p>
            <a:pPr algn="ctr"/>
            <a:r>
              <a:rPr lang="en-US"/>
              <a:t>McKinney-Vento Student Coding</a:t>
            </a:r>
          </a:p>
        </p:txBody>
      </p:sp>
      <p:graphicFrame>
        <p:nvGraphicFramePr>
          <p:cNvPr id="5" name="Content Placeholder 4" descr="Chart that outlines McKinney-Vento student coding considerations.&#10;&#10;">
            <a:extLst>
              <a:ext uri="{FF2B5EF4-FFF2-40B4-BE49-F238E27FC236}">
                <a16:creationId xmlns:a16="http://schemas.microsoft.com/office/drawing/2014/main" id="{B8466609-EA1F-4539-8153-F3FC086CDF02}"/>
              </a:ext>
            </a:extLst>
          </p:cNvPr>
          <p:cNvGraphicFramePr>
            <a:graphicFrameLocks noGrp="1"/>
          </p:cNvGraphicFramePr>
          <p:nvPr>
            <p:ph idx="1"/>
          </p:nvPr>
        </p:nvGraphicFramePr>
        <p:xfrm>
          <a:off x="712380" y="904580"/>
          <a:ext cx="10623762" cy="494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a:extLst>
              <a:ext uri="{FF2B5EF4-FFF2-40B4-BE49-F238E27FC236}">
                <a16:creationId xmlns:a16="http://schemas.microsoft.com/office/drawing/2014/main" id="{C8E13396-BB95-4579-9836-72EEDF2FA701}"/>
              </a:ext>
            </a:extLst>
          </p:cNvPr>
          <p:cNvSpPr>
            <a:spLocks noGrp="1"/>
          </p:cNvSpPr>
          <p:nvPr>
            <p:ph type="ftr" sz="quarter" idx="3"/>
          </p:nvPr>
        </p:nvSpPr>
        <p:spPr/>
        <p:txBody>
          <a:bodyPr/>
          <a:lstStyle/>
          <a:p>
            <a:r>
              <a:rPr lang="en-US"/>
              <a:t>Copyright ©Texas Education Agency, 2021.  All rights reserved</a:t>
            </a:r>
          </a:p>
        </p:txBody>
      </p:sp>
    </p:spTree>
    <p:extLst>
      <p:ext uri="{BB962C8B-B14F-4D97-AF65-F5344CB8AC3E}">
        <p14:creationId xmlns:p14="http://schemas.microsoft.com/office/powerpoint/2010/main" val="2370779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54"/>
        <p:cNvGrpSpPr/>
        <p:nvPr/>
      </p:nvGrpSpPr>
      <p:grpSpPr>
        <a:xfrm>
          <a:off x="0" y="0"/>
          <a:ext cx="0" cy="0"/>
          <a:chOff x="0" y="0"/>
          <a:chExt cx="0" cy="0"/>
        </a:xfrm>
      </p:grpSpPr>
      <p:sp>
        <p:nvSpPr>
          <p:cNvPr id="2" name="Title 1"/>
          <p:cNvSpPr>
            <a:spLocks noGrp="1"/>
          </p:cNvSpPr>
          <p:nvPr>
            <p:ph type="title"/>
          </p:nvPr>
        </p:nvSpPr>
        <p:spPr>
          <a:xfrm>
            <a:off x="702250" y="232751"/>
            <a:ext cx="11121657" cy="751350"/>
          </a:xfrm>
        </p:spPr>
        <p:txBody>
          <a:bodyPr>
            <a:normAutofit fontScale="90000"/>
          </a:bodyPr>
          <a:lstStyle/>
          <a:p>
            <a:pPr algn="ctr">
              <a:buSzPct val="25000"/>
            </a:pPr>
            <a:r>
              <a:rPr lang="en-US" dirty="0">
                <a:ea typeface="Lato"/>
                <a:cs typeface="Arial" panose="020B0604020202020204" pitchFamily="34" charset="0"/>
                <a:sym typeface="Lato"/>
              </a:rPr>
              <a:t>McKinney-Vento Liaisons Facilitate Identification of Students Experiencing Homelessness by Providing:</a:t>
            </a:r>
          </a:p>
        </p:txBody>
      </p:sp>
      <p:pic>
        <p:nvPicPr>
          <p:cNvPr id="12" name="Picture 11" descr="Picture of man">
            <a:extLst>
              <a:ext uri="{FF2B5EF4-FFF2-40B4-BE49-F238E27FC236}">
                <a16:creationId xmlns:a16="http://schemas.microsoft.com/office/drawing/2014/main" id="{DF028E11-1886-4775-32FE-1AD9166C84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075" y="3246467"/>
            <a:ext cx="970715" cy="3632826"/>
          </a:xfrm>
          <a:prstGeom prst="rect">
            <a:avLst/>
          </a:prstGeom>
        </p:spPr>
      </p:pic>
      <p:grpSp>
        <p:nvGrpSpPr>
          <p:cNvPr id="5" name="Group 4" descr="First Key: Identification Process&#10;Second Key : Training of LEA Staff">
            <a:extLst>
              <a:ext uri="{FF2B5EF4-FFF2-40B4-BE49-F238E27FC236}">
                <a16:creationId xmlns:a16="http://schemas.microsoft.com/office/drawing/2014/main" id="{CACBD98A-D79A-4604-9E05-64D17696AE6E}"/>
              </a:ext>
            </a:extLst>
          </p:cNvPr>
          <p:cNvGrpSpPr/>
          <p:nvPr/>
        </p:nvGrpSpPr>
        <p:grpSpPr>
          <a:xfrm>
            <a:off x="1281102" y="1368511"/>
            <a:ext cx="4981977" cy="4351693"/>
            <a:chOff x="1281102" y="1368511"/>
            <a:chExt cx="4981977" cy="4351693"/>
          </a:xfrm>
        </p:grpSpPr>
        <p:pic>
          <p:nvPicPr>
            <p:cNvPr id="22" name="Picture 21">
              <a:extLst>
                <a:ext uri="{FF2B5EF4-FFF2-40B4-BE49-F238E27FC236}">
                  <a16:creationId xmlns:a16="http://schemas.microsoft.com/office/drawing/2014/main" id="{95F5205C-E23D-46B3-B3AD-5C1EFE6186BB}"/>
                </a:ext>
              </a:extLst>
            </p:cNvPr>
            <p:cNvPicPr>
              <a:picLocks noChangeAspect="1"/>
            </p:cNvPicPr>
            <p:nvPr/>
          </p:nvPicPr>
          <p:blipFill>
            <a:blip r:embed="rId4">
              <a:extLst>
                <a:ext uri="{BEBA8EAE-BF5A-486C-A8C5-ECC9F3942E4B}">
                  <a14:imgProps xmlns:a14="http://schemas.microsoft.com/office/drawing/2010/main">
                    <a14:imgLayer r:embed="rId5">
                      <a14:imgEffect>
                        <a14:saturation sat="66000"/>
                      </a14:imgEffect>
                      <a14:imgEffect>
                        <a14:brightnessContrast bright="-20000" contrast="40000"/>
                      </a14:imgEffect>
                    </a14:imgLayer>
                  </a14:imgProps>
                </a:ext>
              </a:extLst>
            </a:blip>
            <a:stretch>
              <a:fillRect/>
            </a:stretch>
          </p:blipFill>
          <p:spPr>
            <a:xfrm>
              <a:off x="1281102" y="1428248"/>
              <a:ext cx="2176461" cy="4291956"/>
            </a:xfrm>
            <a:prstGeom prst="rect">
              <a:avLst/>
            </a:prstGeom>
          </p:spPr>
        </p:pic>
        <p:grpSp>
          <p:nvGrpSpPr>
            <p:cNvPr id="34" name="Group 33">
              <a:extLst>
                <a:ext uri="{FF2B5EF4-FFF2-40B4-BE49-F238E27FC236}">
                  <a16:creationId xmlns:a16="http://schemas.microsoft.com/office/drawing/2014/main" id="{B12E018F-FB75-4D0C-B660-531A18F979BB}"/>
                </a:ext>
              </a:extLst>
            </p:cNvPr>
            <p:cNvGrpSpPr/>
            <p:nvPr/>
          </p:nvGrpSpPr>
          <p:grpSpPr>
            <a:xfrm>
              <a:off x="4084258" y="1368511"/>
              <a:ext cx="2178821" cy="4291617"/>
              <a:chOff x="3599708" y="1516174"/>
              <a:chExt cx="2178821" cy="4291617"/>
            </a:xfrm>
          </p:grpSpPr>
          <p:pic>
            <p:nvPicPr>
              <p:cNvPr id="35" name="Picture 34">
                <a:extLst>
                  <a:ext uri="{FF2B5EF4-FFF2-40B4-BE49-F238E27FC236}">
                    <a16:creationId xmlns:a16="http://schemas.microsoft.com/office/drawing/2014/main" id="{1A02C20D-1D5E-465F-9E95-947F18DA7CA8}"/>
                  </a:ext>
                </a:extLst>
              </p:cNvPr>
              <p:cNvPicPr>
                <a:picLocks noChangeAspect="1"/>
              </p:cNvPicPr>
              <p:nvPr/>
            </p:nvPicPr>
            <p:blipFill>
              <a:blip r:embed="rId6">
                <a:duotone>
                  <a:prstClr val="black"/>
                  <a:schemeClr val="bg1">
                    <a:lumMod val="65000"/>
                    <a:tint val="45000"/>
                    <a:satMod val="400000"/>
                  </a:schemeClr>
                </a:duotone>
              </a:blip>
              <a:stretch>
                <a:fillRect/>
              </a:stretch>
            </p:blipFill>
            <p:spPr>
              <a:xfrm>
                <a:off x="3599708" y="1516174"/>
                <a:ext cx="2178821" cy="4291617"/>
              </a:xfrm>
              <a:prstGeom prst="rect">
                <a:avLst/>
              </a:prstGeom>
            </p:spPr>
          </p:pic>
          <p:sp>
            <p:nvSpPr>
              <p:cNvPr id="36" name="Shape 563" descr="Training of&#10;LEA Staff&#10;">
                <a:extLst>
                  <a:ext uri="{FF2B5EF4-FFF2-40B4-BE49-F238E27FC236}">
                    <a16:creationId xmlns:a16="http://schemas.microsoft.com/office/drawing/2014/main" id="{41B1DA63-43CA-435B-9613-7BB89B5297FA}"/>
                  </a:ext>
                </a:extLst>
              </p:cNvPr>
              <p:cNvSpPr txBox="1"/>
              <p:nvPr/>
            </p:nvSpPr>
            <p:spPr>
              <a:xfrm>
                <a:off x="3879020" y="2351312"/>
                <a:ext cx="1639212" cy="822297"/>
              </a:xfrm>
              <a:prstGeom prst="rect">
                <a:avLst/>
              </a:prstGeom>
              <a:noFill/>
              <a:ln>
                <a:noFill/>
              </a:ln>
            </p:spPr>
            <p:txBody>
              <a:bodyPr lIns="45713" tIns="22850" rIns="45713" bIns="22850" anchor="t" anchorCtr="0">
                <a:noAutofit/>
              </a:bodyPr>
              <a:lstStyle/>
              <a:p>
                <a:pPr algn="ctr">
                  <a:buSzPct val="25000"/>
                </a:pPr>
                <a:r>
                  <a:rPr lang="en-US" sz="2200" b="1">
                    <a:solidFill>
                      <a:srgbClr val="FFFFFF"/>
                    </a:solidFill>
                    <a:ea typeface="Lato"/>
                    <a:cs typeface="Arial" panose="020B0604020202020204" pitchFamily="34" charset="0"/>
                    <a:sym typeface="Lato"/>
                  </a:rPr>
                  <a:t>Training of</a:t>
                </a:r>
                <a:br>
                  <a:rPr lang="en-US" sz="2200" b="1">
                    <a:solidFill>
                      <a:srgbClr val="FFFFFF"/>
                    </a:solidFill>
                    <a:ea typeface="Lato"/>
                    <a:cs typeface="Arial" panose="020B0604020202020204" pitchFamily="34" charset="0"/>
                    <a:sym typeface="Lato"/>
                  </a:rPr>
                </a:br>
                <a:r>
                  <a:rPr lang="en-US" sz="2200" b="1">
                    <a:solidFill>
                      <a:srgbClr val="FFFFFF"/>
                    </a:solidFill>
                    <a:ea typeface="Lato"/>
                    <a:cs typeface="Arial" panose="020B0604020202020204" pitchFamily="34" charset="0"/>
                    <a:sym typeface="Lato"/>
                  </a:rPr>
                  <a:t>LEA Staff</a:t>
                </a:r>
              </a:p>
            </p:txBody>
          </p:sp>
          <p:pic>
            <p:nvPicPr>
              <p:cNvPr id="37" name="Graphic 36" descr="Teacher">
                <a:extLst>
                  <a:ext uri="{FF2B5EF4-FFF2-40B4-BE49-F238E27FC236}">
                    <a16:creationId xmlns:a16="http://schemas.microsoft.com/office/drawing/2014/main" id="{BAB7DB4E-70F0-41F2-8729-35B742E057F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45412" y="3495274"/>
                <a:ext cx="777344" cy="914400"/>
              </a:xfrm>
              <a:prstGeom prst="rect">
                <a:avLst/>
              </a:prstGeom>
            </p:spPr>
          </p:pic>
        </p:grpSp>
        <p:sp>
          <p:nvSpPr>
            <p:cNvPr id="39" name="TextBox 38" descr="Identification Processes&#10;">
              <a:extLst>
                <a:ext uri="{FF2B5EF4-FFF2-40B4-BE49-F238E27FC236}">
                  <a16:creationId xmlns:a16="http://schemas.microsoft.com/office/drawing/2014/main" id="{BD98F4C1-C1E6-45A9-A598-FF4BE5E2003C}"/>
                </a:ext>
              </a:extLst>
            </p:cNvPr>
            <p:cNvSpPr txBox="1"/>
            <p:nvPr/>
          </p:nvSpPr>
          <p:spPr>
            <a:xfrm>
              <a:off x="1532238" y="2223588"/>
              <a:ext cx="1625648" cy="707886"/>
            </a:xfrm>
            <a:prstGeom prst="rect">
              <a:avLst/>
            </a:prstGeom>
            <a:noFill/>
          </p:spPr>
          <p:txBody>
            <a:bodyPr wrap="square">
              <a:spAutoFit/>
            </a:bodyPr>
            <a:lstStyle/>
            <a:p>
              <a:pPr algn="ctr"/>
              <a:r>
                <a:rPr lang="en-US" sz="2000" b="1">
                  <a:solidFill>
                    <a:srgbClr val="FFFFFF"/>
                  </a:solidFill>
                  <a:ea typeface="Lato"/>
                  <a:cs typeface="Arial" panose="020B0604020202020204" pitchFamily="34" charset="0"/>
                  <a:sym typeface="Lato"/>
                </a:rPr>
                <a:t>Identification Processes</a:t>
              </a:r>
              <a:endParaRPr lang="en-US" sz="2000"/>
            </a:p>
          </p:txBody>
        </p:sp>
        <p:pic>
          <p:nvPicPr>
            <p:cNvPr id="40" name="Graphic 39" descr="Folder Search with solid fill">
              <a:extLst>
                <a:ext uri="{FF2B5EF4-FFF2-40B4-BE49-F238E27FC236}">
                  <a16:creationId xmlns:a16="http://schemas.microsoft.com/office/drawing/2014/main" id="{83AF9FFA-2190-4A03-8CE2-0E0113A954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12132" y="3246467"/>
              <a:ext cx="914400" cy="914400"/>
            </a:xfrm>
            <a:prstGeom prst="rect">
              <a:avLst/>
            </a:prstGeom>
          </p:spPr>
        </p:pic>
      </p:grpSp>
      <p:grpSp>
        <p:nvGrpSpPr>
          <p:cNvPr id="14" name="Group 13" descr="Third Key : Awareness Material&#10;Fourth Key: Community Collaborations">
            <a:extLst>
              <a:ext uri="{FF2B5EF4-FFF2-40B4-BE49-F238E27FC236}">
                <a16:creationId xmlns:a16="http://schemas.microsoft.com/office/drawing/2014/main" id="{1973E4D6-1B62-41AA-A1CC-D7CBFFBBAC3C}"/>
              </a:ext>
            </a:extLst>
          </p:cNvPr>
          <p:cNvGrpSpPr/>
          <p:nvPr/>
        </p:nvGrpSpPr>
        <p:grpSpPr>
          <a:xfrm>
            <a:off x="6726099" y="1313248"/>
            <a:ext cx="4732655" cy="4346880"/>
            <a:chOff x="6726099" y="1313248"/>
            <a:chExt cx="4732655" cy="4346880"/>
          </a:xfrm>
        </p:grpSpPr>
        <p:grpSp>
          <p:nvGrpSpPr>
            <p:cNvPr id="11" name="Group 10">
              <a:extLst>
                <a:ext uri="{FF2B5EF4-FFF2-40B4-BE49-F238E27FC236}">
                  <a16:creationId xmlns:a16="http://schemas.microsoft.com/office/drawing/2014/main" id="{2F732A81-A797-44C9-9D86-7172C6F73FD4}"/>
                </a:ext>
              </a:extLst>
            </p:cNvPr>
            <p:cNvGrpSpPr/>
            <p:nvPr/>
          </p:nvGrpSpPr>
          <p:grpSpPr>
            <a:xfrm>
              <a:off x="6726099" y="1313248"/>
              <a:ext cx="4732655" cy="4346880"/>
              <a:chOff x="6726099" y="1313248"/>
              <a:chExt cx="4732655" cy="4346880"/>
            </a:xfrm>
          </p:grpSpPr>
          <p:grpSp>
            <p:nvGrpSpPr>
              <p:cNvPr id="4" name="Group 3">
                <a:extLst>
                  <a:ext uri="{FF2B5EF4-FFF2-40B4-BE49-F238E27FC236}">
                    <a16:creationId xmlns:a16="http://schemas.microsoft.com/office/drawing/2014/main" id="{CC909C04-0E37-44AD-BD7E-E38F5268AACA}"/>
                  </a:ext>
                </a:extLst>
              </p:cNvPr>
              <p:cNvGrpSpPr/>
              <p:nvPr/>
            </p:nvGrpSpPr>
            <p:grpSpPr>
              <a:xfrm>
                <a:off x="6726099" y="1313248"/>
                <a:ext cx="4732655" cy="4346880"/>
                <a:chOff x="6726099" y="1313248"/>
                <a:chExt cx="4732655" cy="4346880"/>
              </a:xfrm>
            </p:grpSpPr>
            <p:pic>
              <p:nvPicPr>
                <p:cNvPr id="19" name="Picture 18">
                  <a:extLst>
                    <a:ext uri="{FF2B5EF4-FFF2-40B4-BE49-F238E27FC236}">
                      <a16:creationId xmlns:a16="http://schemas.microsoft.com/office/drawing/2014/main" id="{6AF4AE0E-60FF-4F37-A4AB-F46AACDF0760}"/>
                    </a:ext>
                  </a:extLst>
                </p:cNvPr>
                <p:cNvPicPr>
                  <a:picLocks noChangeAspect="1"/>
                </p:cNvPicPr>
                <p:nvPr/>
              </p:nvPicPr>
              <p:blipFill>
                <a:blip r:embed="rId11"/>
                <a:stretch>
                  <a:fillRect/>
                </a:stretch>
              </p:blipFill>
              <p:spPr>
                <a:xfrm>
                  <a:off x="6726099" y="1368172"/>
                  <a:ext cx="2176461" cy="4291956"/>
                </a:xfrm>
                <a:prstGeom prst="rect">
                  <a:avLst/>
                </a:prstGeom>
              </p:spPr>
            </p:pic>
            <p:grpSp>
              <p:nvGrpSpPr>
                <p:cNvPr id="3" name="Group 2">
                  <a:extLst>
                    <a:ext uri="{FF2B5EF4-FFF2-40B4-BE49-F238E27FC236}">
                      <a16:creationId xmlns:a16="http://schemas.microsoft.com/office/drawing/2014/main" id="{A555867D-8238-4DB3-BD18-A71126EC81C9}"/>
                    </a:ext>
                  </a:extLst>
                </p:cNvPr>
                <p:cNvGrpSpPr/>
                <p:nvPr/>
              </p:nvGrpSpPr>
              <p:grpSpPr>
                <a:xfrm>
                  <a:off x="9279933" y="1313248"/>
                  <a:ext cx="2178821" cy="4291617"/>
                  <a:chOff x="9279933" y="1313248"/>
                  <a:chExt cx="2178821" cy="4291617"/>
                </a:xfrm>
              </p:grpSpPr>
              <p:pic>
                <p:nvPicPr>
                  <p:cNvPr id="8" name="Picture 7">
                    <a:extLst>
                      <a:ext uri="{FF2B5EF4-FFF2-40B4-BE49-F238E27FC236}">
                        <a16:creationId xmlns:a16="http://schemas.microsoft.com/office/drawing/2014/main" id="{ADA89709-06B4-1649-964F-C3CE63DECE42}"/>
                      </a:ext>
                    </a:extLst>
                  </p:cNvPr>
                  <p:cNvPicPr>
                    <a:picLocks noChangeAspect="1"/>
                  </p:cNvPicPr>
                  <p:nvPr/>
                </p:nvPicPr>
                <p:blipFill>
                  <a:blip r:embed="rId6">
                    <a:duotone>
                      <a:prstClr val="black"/>
                      <a:schemeClr val="bg1">
                        <a:lumMod val="65000"/>
                        <a:tint val="45000"/>
                        <a:satMod val="400000"/>
                      </a:schemeClr>
                    </a:duotone>
                  </a:blip>
                  <a:stretch>
                    <a:fillRect/>
                  </a:stretch>
                </p:blipFill>
                <p:spPr>
                  <a:xfrm>
                    <a:off x="9279933" y="1313248"/>
                    <a:ext cx="2178821" cy="4291617"/>
                  </a:xfrm>
                  <a:prstGeom prst="rect">
                    <a:avLst/>
                  </a:prstGeom>
                </p:spPr>
              </p:pic>
              <p:sp>
                <p:nvSpPr>
                  <p:cNvPr id="26" name="Shape 559" descr="Community Collaboration&#10;">
                    <a:extLst>
                      <a:ext uri="{FF2B5EF4-FFF2-40B4-BE49-F238E27FC236}">
                        <a16:creationId xmlns:a16="http://schemas.microsoft.com/office/drawing/2014/main" id="{E3C3D240-24CA-4C4A-B437-A27F24919CD0}"/>
                      </a:ext>
                    </a:extLst>
                  </p:cNvPr>
                  <p:cNvSpPr txBox="1"/>
                  <p:nvPr/>
                </p:nvSpPr>
                <p:spPr>
                  <a:xfrm>
                    <a:off x="9545934" y="2201543"/>
                    <a:ext cx="1703881" cy="1149720"/>
                  </a:xfrm>
                  <a:prstGeom prst="rect">
                    <a:avLst/>
                  </a:prstGeom>
                  <a:noFill/>
                  <a:ln>
                    <a:noFill/>
                  </a:ln>
                </p:spPr>
                <p:txBody>
                  <a:bodyPr lIns="45713" tIns="22850" rIns="45713" bIns="22850" anchor="t" anchorCtr="0">
                    <a:noAutofit/>
                  </a:bodyPr>
                  <a:lstStyle/>
                  <a:p>
                    <a:pPr algn="ctr">
                      <a:buSzPct val="25000"/>
                    </a:pPr>
                    <a:r>
                      <a:rPr lang="en-US" sz="2200" b="1">
                        <a:solidFill>
                          <a:schemeClr val="bg1"/>
                        </a:solidFill>
                        <a:ea typeface="Lato"/>
                        <a:cs typeface="Arial" panose="020B0604020202020204" pitchFamily="34" charset="0"/>
                        <a:sym typeface="Lato"/>
                      </a:rPr>
                      <a:t>Community Collaboration</a:t>
                    </a:r>
                  </a:p>
                </p:txBody>
              </p:sp>
            </p:grpSp>
            <p:sp>
              <p:nvSpPr>
                <p:cNvPr id="30" name="Shape 561" descr="Training of&#10;LEA Staff&#10;">
                  <a:extLst>
                    <a:ext uri="{FF2B5EF4-FFF2-40B4-BE49-F238E27FC236}">
                      <a16:creationId xmlns:a16="http://schemas.microsoft.com/office/drawing/2014/main" id="{EAF4C93C-3C69-4A35-A9C3-973571930A56}"/>
                    </a:ext>
                  </a:extLst>
                </p:cNvPr>
                <p:cNvSpPr txBox="1"/>
                <p:nvPr/>
              </p:nvSpPr>
              <p:spPr>
                <a:xfrm>
                  <a:off x="6994723" y="2117485"/>
                  <a:ext cx="1639212" cy="1128982"/>
                </a:xfrm>
                <a:prstGeom prst="rect">
                  <a:avLst/>
                </a:prstGeom>
                <a:noFill/>
                <a:ln>
                  <a:noFill/>
                </a:ln>
              </p:spPr>
              <p:txBody>
                <a:bodyPr lIns="45713" tIns="22850" rIns="45713" bIns="22850" anchor="t" anchorCtr="0">
                  <a:noAutofit/>
                </a:bodyPr>
                <a:lstStyle/>
                <a:p>
                  <a:pPr algn="ctr">
                    <a:buSzPct val="25000"/>
                  </a:pPr>
                  <a:r>
                    <a:rPr lang="en-US" sz="2200" b="1">
                      <a:solidFill>
                        <a:srgbClr val="FFFFFF"/>
                      </a:solidFill>
                      <a:ea typeface="Lato"/>
                      <a:cs typeface="Arial" panose="020B0604020202020204" pitchFamily="34" charset="0"/>
                      <a:sym typeface="Lato"/>
                    </a:rPr>
                    <a:t>Awareness Materials</a:t>
                  </a:r>
                </a:p>
              </p:txBody>
            </p:sp>
          </p:grpSp>
          <p:pic>
            <p:nvPicPr>
              <p:cNvPr id="10" name="Graphic 9" descr="Document with solid fill">
                <a:extLst>
                  <a:ext uri="{FF2B5EF4-FFF2-40B4-BE49-F238E27FC236}">
                    <a16:creationId xmlns:a16="http://schemas.microsoft.com/office/drawing/2014/main" id="{070C2F02-2ACF-4D5F-BCE1-F7A37EC0762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57129" y="3423134"/>
                <a:ext cx="914400" cy="914400"/>
              </a:xfrm>
              <a:prstGeom prst="rect">
                <a:avLst/>
              </a:prstGeom>
            </p:spPr>
          </p:pic>
        </p:grpSp>
        <p:pic>
          <p:nvPicPr>
            <p:cNvPr id="13" name="Graphic 12" descr="Connections with solid fill">
              <a:extLst>
                <a:ext uri="{FF2B5EF4-FFF2-40B4-BE49-F238E27FC236}">
                  <a16:creationId xmlns:a16="http://schemas.microsoft.com/office/drawing/2014/main" id="{6A8D1793-D968-47EF-AFE1-D7833B293B2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03179" y="3320978"/>
              <a:ext cx="914400" cy="914400"/>
            </a:xfrm>
            <a:prstGeom prst="rect">
              <a:avLst/>
            </a:prstGeom>
          </p:spPr>
        </p:pic>
      </p:grpSp>
      <p:pic>
        <p:nvPicPr>
          <p:cNvPr id="6" name="Graphic 5">
            <a:extLst>
              <a:ext uri="{FF2B5EF4-FFF2-40B4-BE49-F238E27FC236}">
                <a16:creationId xmlns:a16="http://schemas.microsoft.com/office/drawing/2014/main" id="{4FF81A84-C710-4557-BB1B-23C16364BEE9}"/>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67481" y="3574226"/>
            <a:ext cx="866865" cy="914400"/>
          </a:xfrm>
          <a:prstGeom prst="rect">
            <a:avLst/>
          </a:prstGeom>
        </p:spPr>
      </p:pic>
      <p:sp>
        <p:nvSpPr>
          <p:cNvPr id="7" name="Footer Placeholder 6">
            <a:extLst>
              <a:ext uri="{FF2B5EF4-FFF2-40B4-BE49-F238E27FC236}">
                <a16:creationId xmlns:a16="http://schemas.microsoft.com/office/drawing/2014/main" id="{509BB494-06D8-4919-9BD1-5F1A1C57C02C}"/>
              </a:ext>
            </a:extLst>
          </p:cNvPr>
          <p:cNvSpPr>
            <a:spLocks noGrp="1"/>
          </p:cNvSpPr>
          <p:nvPr>
            <p:ph type="ftr" sz="quarter" idx="3"/>
          </p:nvPr>
        </p:nvSpPr>
        <p:spPr/>
        <p:txBody>
          <a:bodyPr/>
          <a:lstStyle/>
          <a:p>
            <a:r>
              <a:rPr lang="en-US"/>
              <a:t>Copyright ©Texas Education Agency, 2022.  All rights reserved</a:t>
            </a:r>
          </a:p>
        </p:txBody>
      </p:sp>
    </p:spTree>
    <p:extLst>
      <p:ext uri="{BB962C8B-B14F-4D97-AF65-F5344CB8AC3E}">
        <p14:creationId xmlns:p14="http://schemas.microsoft.com/office/powerpoint/2010/main" val="22534692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D9B86A4-833B-4289-B7DB-A52A1279CCCA}"/>
              </a:ext>
            </a:extLst>
          </p:cNvPr>
          <p:cNvSpPr>
            <a:spLocks noGrp="1"/>
          </p:cNvSpPr>
          <p:nvPr>
            <p:ph type="title"/>
          </p:nvPr>
        </p:nvSpPr>
        <p:spPr>
          <a:xfrm>
            <a:off x="712380" y="153230"/>
            <a:ext cx="11121657" cy="751350"/>
          </a:xfrm>
        </p:spPr>
        <p:txBody>
          <a:bodyPr anchor="ctr">
            <a:normAutofit/>
          </a:bodyPr>
          <a:lstStyle/>
          <a:p>
            <a:pPr algn="ctr"/>
            <a:r>
              <a:rPr lang="en-US"/>
              <a:t>McKinney-Vento Student Identification</a:t>
            </a:r>
          </a:p>
        </p:txBody>
      </p:sp>
      <p:sp>
        <p:nvSpPr>
          <p:cNvPr id="7" name="Content Placeholder 6">
            <a:extLst>
              <a:ext uri="{FF2B5EF4-FFF2-40B4-BE49-F238E27FC236}">
                <a16:creationId xmlns:a16="http://schemas.microsoft.com/office/drawing/2014/main" id="{93DCD516-855B-4F8C-9E53-21A08A2AD26C}"/>
              </a:ext>
            </a:extLst>
          </p:cNvPr>
          <p:cNvSpPr>
            <a:spLocks noGrp="1"/>
          </p:cNvSpPr>
          <p:nvPr>
            <p:ph idx="1"/>
          </p:nvPr>
        </p:nvSpPr>
        <p:spPr>
          <a:xfrm>
            <a:off x="712380" y="1285424"/>
            <a:ext cx="5383620" cy="4351338"/>
          </a:xfrm>
        </p:spPr>
        <p:txBody>
          <a:bodyPr>
            <a:normAutofit/>
          </a:bodyPr>
          <a:lstStyle/>
          <a:p>
            <a:pPr marL="0" indent="0">
              <a:spcBef>
                <a:spcPts val="0"/>
              </a:spcBef>
              <a:spcAft>
                <a:spcPts val="1200"/>
              </a:spcAft>
              <a:buClr>
                <a:srgbClr val="0781A6"/>
              </a:buClr>
              <a:buNone/>
              <a:defRPr/>
            </a:pPr>
            <a:r>
              <a:rPr lang="en-US" sz="2400" b="1"/>
              <a:t>LEAs should have processes and strategies in place to identify students experiencing homelessness: </a:t>
            </a:r>
          </a:p>
          <a:p>
            <a:pPr>
              <a:spcBef>
                <a:spcPts val="0"/>
              </a:spcBef>
              <a:spcAft>
                <a:spcPts val="1200"/>
              </a:spcAft>
              <a:defRPr/>
            </a:pPr>
            <a:r>
              <a:rPr lang="en-US" sz="2400"/>
              <a:t>Upon enrollment</a:t>
            </a:r>
          </a:p>
          <a:p>
            <a:pPr lvl="0" defTabSz="914400">
              <a:spcBef>
                <a:spcPts val="0"/>
              </a:spcBef>
              <a:spcAft>
                <a:spcPts val="1200"/>
              </a:spcAft>
              <a:defRPr/>
            </a:pPr>
            <a:r>
              <a:rPr lang="en-US" sz="2400"/>
              <a:t>Anytime during the school year </a:t>
            </a:r>
          </a:p>
          <a:p>
            <a:pPr lvl="0" defTabSz="914400">
              <a:spcBef>
                <a:spcPts val="0"/>
              </a:spcBef>
              <a:spcAft>
                <a:spcPts val="1200"/>
              </a:spcAft>
              <a:defRPr/>
            </a:pPr>
            <a:r>
              <a:rPr lang="en-US" sz="2400"/>
              <a:t>In the event of a natural disaster</a:t>
            </a:r>
          </a:p>
          <a:p>
            <a:endParaRPr lang="en-US" sz="2400"/>
          </a:p>
        </p:txBody>
      </p:sp>
      <p:pic>
        <p:nvPicPr>
          <p:cNvPr id="12" name="Picture 11">
            <a:extLst>
              <a:ext uri="{FF2B5EF4-FFF2-40B4-BE49-F238E27FC236}">
                <a16:creationId xmlns:a16="http://schemas.microsoft.com/office/drawing/2014/main" id="{A833D4F7-18EC-4409-88E8-58B005CF32F0}"/>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0418" r="6996" b="-1"/>
          <a:stretch/>
        </p:blipFill>
        <p:spPr>
          <a:xfrm>
            <a:off x="6450417" y="1304642"/>
            <a:ext cx="5383620" cy="4351338"/>
          </a:xfrm>
          <a:prstGeom prst="rect">
            <a:avLst/>
          </a:prstGeom>
          <a:noFill/>
        </p:spPr>
      </p:pic>
      <p:sp>
        <p:nvSpPr>
          <p:cNvPr id="8" name="Footer Placeholder 1">
            <a:extLst>
              <a:ext uri="{FF2B5EF4-FFF2-40B4-BE49-F238E27FC236}">
                <a16:creationId xmlns:a16="http://schemas.microsoft.com/office/drawing/2014/main" id="{6CDD7898-112A-F804-0554-51D05D76809F}"/>
              </a:ext>
            </a:extLst>
          </p:cNvPr>
          <p:cNvSpPr>
            <a:spLocks noGrp="1"/>
          </p:cNvSpPr>
          <p:nvPr>
            <p:ph type="ftr" sz="quarter" idx="3"/>
          </p:nvPr>
        </p:nvSpPr>
        <p:spPr>
          <a:xfrm>
            <a:off x="4038600" y="6544338"/>
            <a:ext cx="4114800" cy="365125"/>
          </a:xfrm>
        </p:spPr>
        <p:txBody>
          <a:bodyPr anchor="ctr">
            <a:normAutofit/>
          </a:bodyPr>
          <a:lstStyle/>
          <a:p>
            <a:pPr>
              <a:spcAft>
                <a:spcPts val="600"/>
              </a:spcAft>
            </a:pPr>
            <a:r>
              <a:rPr lang="en-US"/>
              <a:t>Copyright ©Texas Education Agency, 2022.  All rights reserved</a:t>
            </a:r>
          </a:p>
        </p:txBody>
      </p:sp>
    </p:spTree>
    <p:extLst>
      <p:ext uri="{BB962C8B-B14F-4D97-AF65-F5344CB8AC3E}">
        <p14:creationId xmlns:p14="http://schemas.microsoft.com/office/powerpoint/2010/main" val="18578631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26101311-9E57-47E2-80FE-78EC9A9871E1}"/>
              </a:ext>
            </a:extLst>
          </p:cNvPr>
          <p:cNvSpPr>
            <a:spLocks noGrp="1"/>
          </p:cNvSpPr>
          <p:nvPr>
            <p:ph type="title"/>
          </p:nvPr>
        </p:nvSpPr>
        <p:spPr>
          <a:xfrm>
            <a:off x="2320119" y="153230"/>
            <a:ext cx="9657516" cy="751350"/>
          </a:xfrm>
        </p:spPr>
        <p:txBody>
          <a:bodyPr>
            <a:noAutofit/>
          </a:bodyPr>
          <a:lstStyle/>
          <a:p>
            <a:r>
              <a:rPr lang="en-US"/>
              <a:t>Identification of Unaccompanied Homeless Youth </a:t>
            </a:r>
          </a:p>
        </p:txBody>
      </p:sp>
      <p:sp>
        <p:nvSpPr>
          <p:cNvPr id="3" name="Content Placeholder 2">
            <a:extLst>
              <a:ext uri="{FF2B5EF4-FFF2-40B4-BE49-F238E27FC236}">
                <a16:creationId xmlns:a16="http://schemas.microsoft.com/office/drawing/2014/main" id="{6807588F-5940-42D5-A5A9-BF2267C8B174}"/>
              </a:ext>
            </a:extLst>
          </p:cNvPr>
          <p:cNvSpPr>
            <a:spLocks noGrp="1"/>
          </p:cNvSpPr>
          <p:nvPr>
            <p:ph idx="1"/>
          </p:nvPr>
        </p:nvSpPr>
        <p:spPr>
          <a:xfrm>
            <a:off x="2320119" y="1582975"/>
            <a:ext cx="4462819" cy="4351338"/>
          </a:xfrm>
        </p:spPr>
        <p:txBody>
          <a:bodyPr>
            <a:normAutofit/>
          </a:bodyPr>
          <a:lstStyle/>
          <a:p>
            <a:pPr lvl="0"/>
            <a:r>
              <a:rPr lang="en-US"/>
              <a:t>Review each situation on a case-by-case basis </a:t>
            </a:r>
          </a:p>
          <a:p>
            <a:pPr lvl="0"/>
            <a:r>
              <a:rPr lang="en-US"/>
              <a:t>Review their living situation and nighttime residency</a:t>
            </a:r>
          </a:p>
          <a:p>
            <a:pPr lvl="0"/>
            <a:r>
              <a:rPr lang="en-US"/>
              <a:t>Student must be </a:t>
            </a:r>
            <a:r>
              <a:rPr lang="en-US" b="1"/>
              <a:t>BOTH </a:t>
            </a:r>
            <a:r>
              <a:rPr lang="en-US"/>
              <a:t>unaccompanied </a:t>
            </a:r>
            <a:r>
              <a:rPr lang="en-US" b="1"/>
              <a:t>AND</a:t>
            </a:r>
            <a:r>
              <a:rPr lang="en-US"/>
              <a:t> experiencing homelessness</a:t>
            </a:r>
          </a:p>
          <a:p>
            <a:endParaRPr lang="en-US"/>
          </a:p>
        </p:txBody>
      </p:sp>
      <p:sp>
        <p:nvSpPr>
          <p:cNvPr id="4" name="Footer Placeholder 3">
            <a:extLst>
              <a:ext uri="{FF2B5EF4-FFF2-40B4-BE49-F238E27FC236}">
                <a16:creationId xmlns:a16="http://schemas.microsoft.com/office/drawing/2014/main" id="{E24CE619-1DCB-4574-84A3-933F212B0A7E}"/>
              </a:ext>
              <a:ext uri="{C183D7F6-B498-43B3-948B-1728B52AA6E4}">
                <adec:decorative xmlns:adec="http://schemas.microsoft.com/office/drawing/2017/decorative" val="1"/>
              </a:ext>
            </a:extLst>
          </p:cNvPr>
          <p:cNvSpPr>
            <a:spLocks noGrp="1"/>
          </p:cNvSpPr>
          <p:nvPr>
            <p:ph type="ftr" sz="quarter" idx="11"/>
          </p:nvPr>
        </p:nvSpPr>
        <p:spPr>
          <a:xfrm>
            <a:off x="5019678" y="6430145"/>
            <a:ext cx="4114800" cy="365125"/>
          </a:xfrm>
        </p:spPr>
        <p:txBody>
          <a:bodyPr anchor="ctr">
            <a:normAutofit/>
          </a:bodyPr>
          <a:lstStyle/>
          <a:p>
            <a:pPr>
              <a:spcAft>
                <a:spcPts val="600"/>
              </a:spcAft>
            </a:pPr>
            <a:r>
              <a:rPr lang="en-US"/>
              <a:t>Copyright ©Texas Education Agency, 2022.  All rights reserved</a:t>
            </a:r>
          </a:p>
        </p:txBody>
      </p:sp>
      <p:pic>
        <p:nvPicPr>
          <p:cNvPr id="6" name="Picture 5">
            <a:extLst>
              <a:ext uri="{FF2B5EF4-FFF2-40B4-BE49-F238E27FC236}">
                <a16:creationId xmlns:a16="http://schemas.microsoft.com/office/drawing/2014/main" id="{6AF9D7EE-744F-4FBE-9300-B0B548BBB8F8}"/>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7288" r="24251" b="-1"/>
          <a:stretch/>
        </p:blipFill>
        <p:spPr>
          <a:xfrm>
            <a:off x="7077078" y="1478675"/>
            <a:ext cx="4462819" cy="4351338"/>
          </a:xfrm>
          <a:prstGeom prst="rect">
            <a:avLst/>
          </a:prstGeom>
          <a:noFill/>
        </p:spPr>
      </p:pic>
    </p:spTree>
    <p:extLst>
      <p:ext uri="{BB962C8B-B14F-4D97-AF65-F5344CB8AC3E}">
        <p14:creationId xmlns:p14="http://schemas.microsoft.com/office/powerpoint/2010/main" val="41003909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C43ED2-30B3-456F-AAB9-77DA2FE1EF01}"/>
              </a:ext>
            </a:extLst>
          </p:cNvPr>
          <p:cNvSpPr>
            <a:spLocks noGrp="1"/>
          </p:cNvSpPr>
          <p:nvPr>
            <p:ph type="title" idx="4294967295"/>
          </p:nvPr>
        </p:nvSpPr>
        <p:spPr>
          <a:xfrm>
            <a:off x="139700" y="153988"/>
            <a:ext cx="6096000" cy="938212"/>
          </a:xfrm>
        </p:spPr>
        <p:txBody>
          <a:bodyPr>
            <a:normAutofit fontScale="90000"/>
          </a:bodyPr>
          <a:lstStyle/>
          <a:p>
            <a:pPr algn="ctr"/>
            <a:r>
              <a:rPr lang="en-US"/>
              <a:t>Sample: Student Residency Questionnaire (SRQ)</a:t>
            </a:r>
          </a:p>
        </p:txBody>
      </p:sp>
      <p:pic>
        <p:nvPicPr>
          <p:cNvPr id="12" name="Picture 11" descr="Screenshot of a sample Student Residency Questionnaire (SRQ).">
            <a:extLst>
              <a:ext uri="{FF2B5EF4-FFF2-40B4-BE49-F238E27FC236}">
                <a16:creationId xmlns:a16="http://schemas.microsoft.com/office/drawing/2014/main" id="{156049C3-15C1-4DFF-A5FC-A5E78FA6B9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72275" y="153988"/>
            <a:ext cx="5280025" cy="6170612"/>
          </a:xfrm>
          <a:prstGeom prst="rect">
            <a:avLst/>
          </a:prstGeom>
          <a:ln w="19050">
            <a:solidFill>
              <a:schemeClr val="accent1"/>
            </a:solidFill>
          </a:ln>
          <a:effectLst>
            <a:outerShdw blurRad="190500" algn="tl" rotWithShape="0">
              <a:srgbClr val="000000">
                <a:alpha val="70000"/>
              </a:srgbClr>
            </a:outerShdw>
          </a:effectLst>
        </p:spPr>
      </p:pic>
      <p:graphicFrame>
        <p:nvGraphicFramePr>
          <p:cNvPr id="8" name="Diagram 7">
            <a:extLst>
              <a:ext uri="{FF2B5EF4-FFF2-40B4-BE49-F238E27FC236}">
                <a16:creationId xmlns:a16="http://schemas.microsoft.com/office/drawing/2014/main" id="{6F2839F4-5935-49AB-85D3-340744807E6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78911417"/>
              </p:ext>
            </p:extLst>
          </p:nvPr>
        </p:nvGraphicFramePr>
        <p:xfrm>
          <a:off x="573864" y="1273838"/>
          <a:ext cx="5227672" cy="45799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Footer Placeholder 1">
            <a:extLst>
              <a:ext uri="{FF2B5EF4-FFF2-40B4-BE49-F238E27FC236}">
                <a16:creationId xmlns:a16="http://schemas.microsoft.com/office/drawing/2014/main" id="{61501411-3D3C-E2B1-BEB0-6EB2611EDECC}"/>
              </a:ext>
            </a:extLst>
          </p:cNvPr>
          <p:cNvSpPr>
            <a:spLocks noGrp="1"/>
          </p:cNvSpPr>
          <p:nvPr>
            <p:ph type="ftr" sz="quarter" idx="3"/>
          </p:nvPr>
        </p:nvSpPr>
        <p:spPr>
          <a:xfrm>
            <a:off x="4038600" y="6544338"/>
            <a:ext cx="4114800" cy="365125"/>
          </a:xfrm>
        </p:spPr>
        <p:txBody>
          <a:bodyPr anchor="ctr">
            <a:normAutofit/>
          </a:bodyPr>
          <a:lstStyle/>
          <a:p>
            <a:pPr>
              <a:spcAft>
                <a:spcPts val="600"/>
              </a:spcAft>
            </a:pPr>
            <a:r>
              <a:rPr lang="en-US"/>
              <a:t>Copyright ©Texas Education Agency, 2022.  All rights reserved</a:t>
            </a:r>
          </a:p>
        </p:txBody>
      </p:sp>
    </p:spTree>
    <p:extLst>
      <p:ext uri="{BB962C8B-B14F-4D97-AF65-F5344CB8AC3E}">
        <p14:creationId xmlns:p14="http://schemas.microsoft.com/office/powerpoint/2010/main" val="18621999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2" name="Title 1"/>
          <p:cNvSpPr>
            <a:spLocks noGrp="1"/>
          </p:cNvSpPr>
          <p:nvPr>
            <p:ph type="title"/>
          </p:nvPr>
        </p:nvSpPr>
        <p:spPr>
          <a:xfrm>
            <a:off x="784077" y="344375"/>
            <a:ext cx="5292362" cy="751350"/>
          </a:xfrm>
        </p:spPr>
        <p:txBody>
          <a:bodyPr>
            <a:normAutofit fontScale="90000"/>
          </a:bodyPr>
          <a:lstStyle/>
          <a:p>
            <a:pPr>
              <a:buSzPct val="25000"/>
            </a:pPr>
            <a:r>
              <a:rPr lang="en-US">
                <a:ea typeface="Lato"/>
                <a:cs typeface="Arial" panose="020B0604020202020204" pitchFamily="34" charset="0"/>
                <a:sym typeface="Lato"/>
              </a:rPr>
              <a:t>Sample Intake Form – Page 1</a:t>
            </a:r>
          </a:p>
        </p:txBody>
      </p:sp>
      <p:graphicFrame>
        <p:nvGraphicFramePr>
          <p:cNvPr id="4" name="Diagram 3" descr="Arrow 1: Clarify responses on the SRQ&#10;Arrow 2: Document School of Origin&#10;Arrow 3: Identify all eligible students in the family ">
            <a:extLst>
              <a:ext uri="{FF2B5EF4-FFF2-40B4-BE49-F238E27FC236}">
                <a16:creationId xmlns:a16="http://schemas.microsoft.com/office/drawing/2014/main" id="{F28B6060-0C2D-4213-9C26-28FD574487A8}"/>
              </a:ext>
            </a:extLst>
          </p:cNvPr>
          <p:cNvGraphicFramePr/>
          <p:nvPr/>
        </p:nvGraphicFramePr>
        <p:xfrm>
          <a:off x="404364" y="1303022"/>
          <a:ext cx="6051787" cy="3927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descr="Screenshot of sample intake form.">
            <a:extLst>
              <a:ext uri="{FF2B5EF4-FFF2-40B4-BE49-F238E27FC236}">
                <a16:creationId xmlns:a16="http://schemas.microsoft.com/office/drawing/2014/main" id="{948A1654-DBAA-4F15-BA90-E1365C7D0A2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89820" y="153229"/>
            <a:ext cx="5128009" cy="6227473"/>
          </a:xfrm>
          <a:prstGeom prst="rect">
            <a:avLst/>
          </a:prstGeom>
          <a:ln>
            <a:solidFill>
              <a:schemeClr val="tx1"/>
            </a:solidFill>
          </a:ln>
        </p:spPr>
      </p:pic>
      <p:sp>
        <p:nvSpPr>
          <p:cNvPr id="3" name="Footer Placeholder 2">
            <a:extLst>
              <a:ext uri="{FF2B5EF4-FFF2-40B4-BE49-F238E27FC236}">
                <a16:creationId xmlns:a16="http://schemas.microsoft.com/office/drawing/2014/main" id="{E2726A00-D7E2-4142-BEE4-CE6F93292BDD}"/>
              </a:ext>
            </a:extLst>
          </p:cNvPr>
          <p:cNvSpPr>
            <a:spLocks noGrp="1"/>
          </p:cNvSpPr>
          <p:nvPr>
            <p:ph type="ftr" sz="quarter" idx="3"/>
          </p:nvPr>
        </p:nvSpPr>
        <p:spPr/>
        <p:txBody>
          <a:bodyPr/>
          <a:lstStyle/>
          <a:p>
            <a:r>
              <a:rPr lang="en-US"/>
              <a:t>Copyright ©Texas Education Agency, 2022.  All rights reserved</a:t>
            </a:r>
          </a:p>
        </p:txBody>
      </p:sp>
    </p:spTree>
    <p:extLst>
      <p:ext uri="{BB962C8B-B14F-4D97-AF65-F5344CB8AC3E}">
        <p14:creationId xmlns:p14="http://schemas.microsoft.com/office/powerpoint/2010/main" val="691566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2" name="Title 1"/>
          <p:cNvSpPr>
            <a:spLocks noGrp="1"/>
          </p:cNvSpPr>
          <p:nvPr>
            <p:ph type="title"/>
          </p:nvPr>
        </p:nvSpPr>
        <p:spPr/>
        <p:txBody>
          <a:bodyPr/>
          <a:lstStyle/>
          <a:p>
            <a:pPr>
              <a:buSzPct val="25000"/>
            </a:pPr>
            <a:r>
              <a:rPr lang="en-US">
                <a:ea typeface="Lato"/>
                <a:cs typeface="Arial" panose="020B0604020202020204" pitchFamily="34" charset="0"/>
                <a:sym typeface="Lato"/>
              </a:rPr>
              <a:t>Sample Intake Form – Page 2</a:t>
            </a:r>
          </a:p>
        </p:txBody>
      </p:sp>
      <p:graphicFrame>
        <p:nvGraphicFramePr>
          <p:cNvPr id="6" name="Diagram 5" descr="Arrow 1: Review program services &#10;Arrow 2: Document referrals and services provided&#10;Arrow 3: Document non-qualification criteria and intake notes&#10;">
            <a:extLst>
              <a:ext uri="{FF2B5EF4-FFF2-40B4-BE49-F238E27FC236}">
                <a16:creationId xmlns:a16="http://schemas.microsoft.com/office/drawing/2014/main" id="{ECFF3F69-EB07-401E-8539-7F1593BD5A31}"/>
              </a:ext>
            </a:extLst>
          </p:cNvPr>
          <p:cNvGraphicFramePr/>
          <p:nvPr/>
        </p:nvGraphicFramePr>
        <p:xfrm>
          <a:off x="357963" y="1255776"/>
          <a:ext cx="5981877" cy="41751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Screenshot of sample intake form, page 2.">
            <a:extLst>
              <a:ext uri="{FF2B5EF4-FFF2-40B4-BE49-F238E27FC236}">
                <a16:creationId xmlns:a16="http://schemas.microsoft.com/office/drawing/2014/main" id="{2373A310-1F4F-4C53-A6DB-73F3B7EBB7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03700" y="153230"/>
            <a:ext cx="4830337" cy="6257618"/>
          </a:xfrm>
          <a:prstGeom prst="rect">
            <a:avLst/>
          </a:prstGeom>
          <a:ln w="12700">
            <a:solidFill>
              <a:schemeClr val="tx1"/>
            </a:solidFill>
          </a:ln>
        </p:spPr>
      </p:pic>
      <p:sp>
        <p:nvSpPr>
          <p:cNvPr id="3" name="Footer Placeholder 2">
            <a:extLst>
              <a:ext uri="{FF2B5EF4-FFF2-40B4-BE49-F238E27FC236}">
                <a16:creationId xmlns:a16="http://schemas.microsoft.com/office/drawing/2014/main" id="{6504F2D2-49AA-4778-A262-D5693DCE4422}"/>
              </a:ext>
            </a:extLst>
          </p:cNvPr>
          <p:cNvSpPr>
            <a:spLocks noGrp="1"/>
          </p:cNvSpPr>
          <p:nvPr>
            <p:ph type="ftr" sz="quarter" idx="3"/>
          </p:nvPr>
        </p:nvSpPr>
        <p:spPr/>
        <p:txBody>
          <a:bodyPr/>
          <a:lstStyle/>
          <a:p>
            <a:r>
              <a:rPr lang="en-US"/>
              <a:t>Copyright ©Texas Education Agency, 2022.  All rights reserved</a:t>
            </a:r>
          </a:p>
        </p:txBody>
      </p:sp>
    </p:spTree>
    <p:extLst>
      <p:ext uri="{BB962C8B-B14F-4D97-AF65-F5344CB8AC3E}">
        <p14:creationId xmlns:p14="http://schemas.microsoft.com/office/powerpoint/2010/main" val="2471690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B6F02-E01E-026B-8E84-DBB162B2D1F1}"/>
              </a:ext>
            </a:extLst>
          </p:cNvPr>
          <p:cNvSpPr>
            <a:spLocks noGrp="1"/>
          </p:cNvSpPr>
          <p:nvPr>
            <p:ph type="title"/>
          </p:nvPr>
        </p:nvSpPr>
        <p:spPr/>
        <p:txBody>
          <a:bodyPr/>
          <a:lstStyle/>
          <a:p>
            <a:r>
              <a:rPr lang="en-US"/>
              <a:t>Next Steps</a:t>
            </a:r>
          </a:p>
        </p:txBody>
      </p:sp>
      <p:sp>
        <p:nvSpPr>
          <p:cNvPr id="3" name="Content Placeholder 2">
            <a:extLst>
              <a:ext uri="{FF2B5EF4-FFF2-40B4-BE49-F238E27FC236}">
                <a16:creationId xmlns:a16="http://schemas.microsoft.com/office/drawing/2014/main" id="{6B9CB647-EF42-F42B-0749-2A35307FDCA3}"/>
              </a:ext>
            </a:extLst>
          </p:cNvPr>
          <p:cNvSpPr>
            <a:spLocks noGrp="1"/>
          </p:cNvSpPr>
          <p:nvPr>
            <p:ph idx="1"/>
          </p:nvPr>
        </p:nvSpPr>
        <p:spPr>
          <a:xfrm>
            <a:off x="2201841" y="1192830"/>
            <a:ext cx="8988726" cy="4982339"/>
          </a:xfrm>
        </p:spPr>
        <p:txBody>
          <a:bodyPr lIns="91440" tIns="45720" rIns="91440" bIns="45720" anchor="t"/>
          <a:lstStyle/>
          <a:p>
            <a:pPr marL="0" indent="0">
              <a:buNone/>
            </a:pPr>
            <a:endParaRPr lang="en-US" dirty="0">
              <a:cs typeface="Calibri"/>
            </a:endParaRPr>
          </a:p>
          <a:p>
            <a:r>
              <a:rPr lang="en-US" dirty="0"/>
              <a:t>Review processes and procedures for McKinney-Vento student identification with registrars and front office staff. </a:t>
            </a:r>
          </a:p>
          <a:p>
            <a:r>
              <a:rPr lang="en-US" dirty="0"/>
              <a:t>Foster links between LEA McKinney-Vento Liaisons, Registrars, and PEIMS support staff.</a:t>
            </a:r>
            <a:endParaRPr lang="en-US">
              <a:cs typeface="Calibri"/>
            </a:endParaRPr>
          </a:p>
          <a:p>
            <a:r>
              <a:rPr lang="en-US" dirty="0"/>
              <a:t>Encourage staff to review McKinney-Vento program reports to monitor student enrollment, coding, and services on a regular basis. </a:t>
            </a:r>
            <a:endParaRPr lang="en-US" dirty="0">
              <a:cs typeface="Calibri"/>
            </a:endParaRPr>
          </a:p>
          <a:p>
            <a:r>
              <a:rPr lang="en-US" dirty="0"/>
              <a:t>Develop processes and procedures to address and correct any coding errors throughout the school year.</a:t>
            </a:r>
            <a:endParaRPr lang="en-US" dirty="0">
              <a:cs typeface="Calibri" panose="020F0502020204030204"/>
            </a:endParaRPr>
          </a:p>
          <a:p>
            <a:r>
              <a:rPr lang="en-US" dirty="0">
                <a:cs typeface="Calibri" panose="020F0502020204030204"/>
              </a:rPr>
              <a:t>Foster cross-collaboration and training. </a:t>
            </a:r>
          </a:p>
          <a:p>
            <a:endParaRPr lang="en-US">
              <a:cs typeface="Calibri" panose="020F0502020204030204"/>
            </a:endParaRPr>
          </a:p>
        </p:txBody>
      </p:sp>
    </p:spTree>
    <p:extLst>
      <p:ext uri="{BB962C8B-B14F-4D97-AF65-F5344CB8AC3E}">
        <p14:creationId xmlns:p14="http://schemas.microsoft.com/office/powerpoint/2010/main" val="25399118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E365C53-3C5F-C577-A01C-4B1A7857D217}"/>
              </a:ext>
            </a:extLst>
          </p:cNvPr>
          <p:cNvSpPr>
            <a:spLocks noGrp="1"/>
          </p:cNvSpPr>
          <p:nvPr>
            <p:ph type="title"/>
          </p:nvPr>
        </p:nvSpPr>
        <p:spPr/>
        <p:txBody>
          <a:bodyPr/>
          <a:lstStyle/>
          <a:p>
            <a:pPr algn="ctr"/>
            <a:r>
              <a:rPr lang="en-US" spc="-10"/>
              <a:t>McKinney-</a:t>
            </a:r>
            <a:r>
              <a:rPr lang="en-US" spc="-20"/>
              <a:t>Vento</a:t>
            </a:r>
            <a:r>
              <a:rPr lang="en-US" spc="-55"/>
              <a:t> </a:t>
            </a:r>
            <a:r>
              <a:rPr lang="en-US"/>
              <a:t>101/Identification</a:t>
            </a:r>
            <a:r>
              <a:rPr lang="en-US" spc="-65"/>
              <a:t> </a:t>
            </a:r>
            <a:r>
              <a:rPr lang="en-US" spc="-10"/>
              <a:t>Resources</a:t>
            </a:r>
            <a:endParaRPr lang="en-US"/>
          </a:p>
        </p:txBody>
      </p:sp>
      <p:sp>
        <p:nvSpPr>
          <p:cNvPr id="3" name="object 3"/>
          <p:cNvSpPr txBox="1">
            <a:spLocks noGrp="1"/>
          </p:cNvSpPr>
          <p:nvPr>
            <p:ph type="body" idx="4294967295"/>
          </p:nvPr>
        </p:nvSpPr>
        <p:spPr>
          <a:xfrm>
            <a:off x="406250" y="1010718"/>
            <a:ext cx="5866958" cy="4319771"/>
          </a:xfrm>
          <a:prstGeom prst="rect">
            <a:avLst/>
          </a:prstGeom>
        </p:spPr>
        <p:txBody>
          <a:bodyPr vert="horz" wrap="square" lIns="0" tIns="61594" rIns="0" bIns="0" rtlCol="0">
            <a:spAutoFit/>
          </a:bodyPr>
          <a:lstStyle/>
          <a:p>
            <a:pPr marL="469265" marR="5080" indent="-457200">
              <a:lnSpc>
                <a:spcPts val="3020"/>
              </a:lnSpc>
              <a:spcBef>
                <a:spcPts val="484"/>
              </a:spcBef>
              <a:buClr>
                <a:srgbClr val="F05F38"/>
              </a:buClr>
              <a:tabLst>
                <a:tab pos="241300" algn="l"/>
              </a:tabLst>
            </a:pPr>
            <a:r>
              <a:rPr lang="en-US">
                <a:solidFill>
                  <a:schemeClr val="accent1"/>
                </a:solidFill>
              </a:rPr>
              <a:t>McKinney-Vento 101 webinar</a:t>
            </a:r>
            <a:r>
              <a:rPr lang="en-US" spc="-75">
                <a:solidFill>
                  <a:schemeClr val="accent1"/>
                </a:solidFill>
              </a:rPr>
              <a:t> </a:t>
            </a:r>
            <a:r>
              <a:rPr lang="en-US" spc="-10">
                <a:solidFill>
                  <a:schemeClr val="accent1"/>
                </a:solidFill>
              </a:rPr>
              <a:t>recording </a:t>
            </a:r>
            <a:r>
              <a:rPr lang="en-US">
                <a:solidFill>
                  <a:schemeClr val="accent1"/>
                </a:solidFill>
              </a:rPr>
              <a:t>and</a:t>
            </a:r>
            <a:r>
              <a:rPr lang="en-US" spc="-10">
                <a:solidFill>
                  <a:schemeClr val="accent1"/>
                </a:solidFill>
              </a:rPr>
              <a:t> s</a:t>
            </a:r>
            <a:r>
              <a:rPr lang="en-US">
                <a:solidFill>
                  <a:schemeClr val="accent1"/>
                </a:solidFill>
              </a:rPr>
              <a:t>lide</a:t>
            </a:r>
            <a:r>
              <a:rPr lang="en-US" spc="-15">
                <a:solidFill>
                  <a:schemeClr val="accent1"/>
                </a:solidFill>
              </a:rPr>
              <a:t> </a:t>
            </a:r>
            <a:r>
              <a:rPr lang="en-US" spc="-20">
                <a:solidFill>
                  <a:schemeClr val="accent1"/>
                </a:solidFill>
              </a:rPr>
              <a:t>deck</a:t>
            </a:r>
          </a:p>
          <a:p>
            <a:pPr marL="469900" marR="1421765" indent="-457200">
              <a:lnSpc>
                <a:spcPts val="3020"/>
              </a:lnSpc>
              <a:spcBef>
                <a:spcPts val="1010"/>
              </a:spcBef>
              <a:buClr>
                <a:srgbClr val="F05F38"/>
              </a:buClr>
              <a:tabLst>
                <a:tab pos="241300" algn="l"/>
              </a:tabLst>
            </a:pPr>
            <a:r>
              <a:rPr lang="en-US">
                <a:solidFill>
                  <a:schemeClr val="accent1"/>
                </a:solidFill>
              </a:rPr>
              <a:t>Sample</a:t>
            </a:r>
            <a:r>
              <a:rPr lang="en-US" spc="-45">
                <a:solidFill>
                  <a:schemeClr val="accent1"/>
                </a:solidFill>
              </a:rPr>
              <a:t> </a:t>
            </a:r>
            <a:r>
              <a:rPr lang="en-US">
                <a:solidFill>
                  <a:schemeClr val="accent1"/>
                </a:solidFill>
              </a:rPr>
              <a:t>Student</a:t>
            </a:r>
            <a:r>
              <a:rPr lang="en-US" spc="-20">
                <a:solidFill>
                  <a:schemeClr val="accent1"/>
                </a:solidFill>
              </a:rPr>
              <a:t> </a:t>
            </a:r>
            <a:r>
              <a:rPr lang="en-US" spc="-10">
                <a:solidFill>
                  <a:schemeClr val="accent1"/>
                </a:solidFill>
              </a:rPr>
              <a:t>Residency Questionnaire</a:t>
            </a:r>
          </a:p>
          <a:p>
            <a:pPr marL="469900" indent="-457200">
              <a:lnSpc>
                <a:spcPct val="100000"/>
              </a:lnSpc>
              <a:spcBef>
                <a:spcPts val="620"/>
              </a:spcBef>
              <a:buClr>
                <a:srgbClr val="F05F38"/>
              </a:buClr>
              <a:tabLst>
                <a:tab pos="241300" algn="l"/>
              </a:tabLst>
            </a:pPr>
            <a:r>
              <a:rPr lang="en-US">
                <a:solidFill>
                  <a:schemeClr val="accent1"/>
                </a:solidFill>
              </a:rPr>
              <a:t>Sample</a:t>
            </a:r>
            <a:r>
              <a:rPr lang="en-US" spc="-70">
                <a:solidFill>
                  <a:schemeClr val="accent1"/>
                </a:solidFill>
              </a:rPr>
              <a:t> </a:t>
            </a:r>
            <a:r>
              <a:rPr lang="en-US" spc="-10">
                <a:solidFill>
                  <a:schemeClr val="accent1"/>
                </a:solidFill>
              </a:rPr>
              <a:t>Intake</a:t>
            </a:r>
            <a:r>
              <a:rPr lang="en-US" spc="-65">
                <a:solidFill>
                  <a:schemeClr val="accent1"/>
                </a:solidFill>
              </a:rPr>
              <a:t> </a:t>
            </a:r>
            <a:r>
              <a:rPr lang="en-US" spc="-20">
                <a:solidFill>
                  <a:schemeClr val="accent1"/>
                </a:solidFill>
              </a:rPr>
              <a:t>Form</a:t>
            </a:r>
          </a:p>
          <a:p>
            <a:pPr marL="469900" indent="-457200">
              <a:lnSpc>
                <a:spcPct val="100000"/>
              </a:lnSpc>
              <a:spcBef>
                <a:spcPts val="665"/>
              </a:spcBef>
              <a:buClr>
                <a:srgbClr val="F05F38"/>
              </a:buClr>
              <a:tabLst>
                <a:tab pos="241300" algn="l"/>
              </a:tabLst>
            </a:pPr>
            <a:r>
              <a:rPr lang="en-US">
                <a:solidFill>
                  <a:schemeClr val="accent1"/>
                </a:solidFill>
              </a:rPr>
              <a:t>Immunization</a:t>
            </a:r>
            <a:r>
              <a:rPr lang="en-US" spc="-75">
                <a:solidFill>
                  <a:schemeClr val="accent1"/>
                </a:solidFill>
              </a:rPr>
              <a:t> </a:t>
            </a:r>
            <a:r>
              <a:rPr lang="en-US">
                <a:solidFill>
                  <a:schemeClr val="accent1"/>
                </a:solidFill>
              </a:rPr>
              <a:t>Flow</a:t>
            </a:r>
            <a:r>
              <a:rPr lang="en-US" spc="-75">
                <a:solidFill>
                  <a:schemeClr val="accent1"/>
                </a:solidFill>
              </a:rPr>
              <a:t> </a:t>
            </a:r>
            <a:r>
              <a:rPr lang="en-US" spc="-10">
                <a:solidFill>
                  <a:schemeClr val="accent1"/>
                </a:solidFill>
              </a:rPr>
              <a:t>Chart</a:t>
            </a:r>
          </a:p>
          <a:p>
            <a:pPr marL="469900" indent="-457200">
              <a:lnSpc>
                <a:spcPct val="100000"/>
              </a:lnSpc>
              <a:spcBef>
                <a:spcPts val="670"/>
              </a:spcBef>
              <a:buClr>
                <a:srgbClr val="F05F38"/>
              </a:buClr>
              <a:tabLst>
                <a:tab pos="241300" algn="l"/>
              </a:tabLst>
            </a:pPr>
            <a:r>
              <a:rPr lang="en-US">
                <a:solidFill>
                  <a:schemeClr val="accent1"/>
                </a:solidFill>
              </a:rPr>
              <a:t>Sample</a:t>
            </a:r>
            <a:r>
              <a:rPr lang="en-US" spc="-55">
                <a:solidFill>
                  <a:schemeClr val="accent1"/>
                </a:solidFill>
              </a:rPr>
              <a:t> </a:t>
            </a:r>
            <a:r>
              <a:rPr lang="en-US" spc="-20">
                <a:solidFill>
                  <a:schemeClr val="accent1"/>
                </a:solidFill>
              </a:rPr>
              <a:t>Transportation</a:t>
            </a:r>
            <a:r>
              <a:rPr lang="en-US" spc="-40">
                <a:solidFill>
                  <a:schemeClr val="accent1"/>
                </a:solidFill>
              </a:rPr>
              <a:t> </a:t>
            </a:r>
            <a:r>
              <a:rPr lang="en-US" spc="-10">
                <a:solidFill>
                  <a:schemeClr val="accent1"/>
                </a:solidFill>
              </a:rPr>
              <a:t>Letter</a:t>
            </a:r>
          </a:p>
          <a:p>
            <a:pPr marL="469900" indent="-457200">
              <a:lnSpc>
                <a:spcPct val="100000"/>
              </a:lnSpc>
              <a:spcBef>
                <a:spcPts val="660"/>
              </a:spcBef>
              <a:buClr>
                <a:srgbClr val="F05F38"/>
              </a:buClr>
              <a:tabLst>
                <a:tab pos="241300" algn="l"/>
              </a:tabLst>
            </a:pPr>
            <a:r>
              <a:rPr lang="en-US">
                <a:solidFill>
                  <a:schemeClr val="accent1"/>
                </a:solidFill>
              </a:rPr>
              <a:t>Dispute</a:t>
            </a:r>
            <a:r>
              <a:rPr lang="en-US" spc="-75">
                <a:solidFill>
                  <a:schemeClr val="accent1"/>
                </a:solidFill>
              </a:rPr>
              <a:t> </a:t>
            </a:r>
            <a:r>
              <a:rPr lang="en-US">
                <a:solidFill>
                  <a:schemeClr val="accent1"/>
                </a:solidFill>
              </a:rPr>
              <a:t>Resolution</a:t>
            </a:r>
            <a:r>
              <a:rPr lang="en-US" spc="-70">
                <a:solidFill>
                  <a:schemeClr val="accent1"/>
                </a:solidFill>
              </a:rPr>
              <a:t> </a:t>
            </a:r>
            <a:r>
              <a:rPr lang="en-US" spc="-10">
                <a:solidFill>
                  <a:schemeClr val="accent1"/>
                </a:solidFill>
              </a:rPr>
              <a:t>Resources</a:t>
            </a:r>
          </a:p>
          <a:p>
            <a:pPr marL="469900" indent="-457200">
              <a:lnSpc>
                <a:spcPct val="100000"/>
              </a:lnSpc>
              <a:spcBef>
                <a:spcPts val="660"/>
              </a:spcBef>
              <a:buClr>
                <a:srgbClr val="F05F38"/>
              </a:buClr>
              <a:tabLst>
                <a:tab pos="241300" algn="l"/>
              </a:tabLst>
            </a:pPr>
            <a:r>
              <a:rPr lang="en-US" spc="-10">
                <a:solidFill>
                  <a:schemeClr val="accent1"/>
                </a:solidFill>
              </a:rPr>
              <a:t>McKinney-Vento 201 Training</a:t>
            </a:r>
          </a:p>
        </p:txBody>
      </p:sp>
      <p:sp>
        <p:nvSpPr>
          <p:cNvPr id="4" name="object 4"/>
          <p:cNvSpPr txBox="1"/>
          <p:nvPr/>
        </p:nvSpPr>
        <p:spPr>
          <a:xfrm>
            <a:off x="4172837" y="6612854"/>
            <a:ext cx="3846195" cy="208279"/>
          </a:xfrm>
          <a:prstGeom prst="rect">
            <a:avLst/>
          </a:prstGeom>
        </p:spPr>
        <p:txBody>
          <a:bodyPr vert="horz" wrap="square" lIns="0" tIns="12700" rIns="0" bIns="0" rtlCol="0">
            <a:spAutoFit/>
          </a:bodyPr>
          <a:lstStyle/>
          <a:p>
            <a:pPr marL="12700">
              <a:lnSpc>
                <a:spcPct val="100000"/>
              </a:lnSpc>
              <a:spcBef>
                <a:spcPts val="100"/>
              </a:spcBef>
            </a:pPr>
            <a:r>
              <a:rPr sz="1200">
                <a:latin typeface="Calibri"/>
                <a:cs typeface="Calibri"/>
              </a:rPr>
              <a:t>Copyright</a:t>
            </a:r>
            <a:r>
              <a:rPr sz="1200" spc="-45">
                <a:latin typeface="Calibri"/>
                <a:cs typeface="Calibri"/>
              </a:rPr>
              <a:t> </a:t>
            </a:r>
            <a:r>
              <a:rPr sz="1200" spc="-20">
                <a:latin typeface="Calibri"/>
                <a:cs typeface="Calibri"/>
              </a:rPr>
              <a:t>©Texas</a:t>
            </a:r>
            <a:r>
              <a:rPr sz="1200">
                <a:latin typeface="Calibri"/>
                <a:cs typeface="Calibri"/>
              </a:rPr>
              <a:t> </a:t>
            </a:r>
            <a:r>
              <a:rPr sz="1200" spc="-10">
                <a:latin typeface="Calibri"/>
                <a:cs typeface="Calibri"/>
              </a:rPr>
              <a:t>Education</a:t>
            </a:r>
            <a:r>
              <a:rPr sz="1200" spc="-20">
                <a:latin typeface="Calibri"/>
                <a:cs typeface="Calibri"/>
              </a:rPr>
              <a:t> </a:t>
            </a:r>
            <a:r>
              <a:rPr sz="1200" spc="-10">
                <a:latin typeface="Calibri"/>
                <a:cs typeface="Calibri"/>
              </a:rPr>
              <a:t>Agency,</a:t>
            </a:r>
            <a:r>
              <a:rPr sz="1200" spc="-25">
                <a:latin typeface="Calibri"/>
                <a:cs typeface="Calibri"/>
              </a:rPr>
              <a:t> </a:t>
            </a:r>
            <a:r>
              <a:rPr sz="1200">
                <a:latin typeface="Calibri"/>
                <a:cs typeface="Calibri"/>
              </a:rPr>
              <a:t>2022.</a:t>
            </a:r>
            <a:r>
              <a:rPr sz="1200" spc="265">
                <a:latin typeface="Calibri"/>
                <a:cs typeface="Calibri"/>
              </a:rPr>
              <a:t> </a:t>
            </a:r>
            <a:r>
              <a:rPr sz="1200">
                <a:latin typeface="Calibri"/>
                <a:cs typeface="Calibri"/>
              </a:rPr>
              <a:t>All</a:t>
            </a:r>
            <a:r>
              <a:rPr sz="1200" spc="-5">
                <a:latin typeface="Calibri"/>
                <a:cs typeface="Calibri"/>
              </a:rPr>
              <a:t> </a:t>
            </a:r>
            <a:r>
              <a:rPr sz="1200">
                <a:latin typeface="Calibri"/>
                <a:cs typeface="Calibri"/>
              </a:rPr>
              <a:t>rights</a:t>
            </a:r>
            <a:r>
              <a:rPr sz="1200" spc="-25">
                <a:latin typeface="Calibri"/>
                <a:cs typeface="Calibri"/>
              </a:rPr>
              <a:t> </a:t>
            </a:r>
            <a:r>
              <a:rPr sz="1200" spc="-10">
                <a:latin typeface="Calibri"/>
                <a:cs typeface="Calibri"/>
              </a:rPr>
              <a:t>reserved</a:t>
            </a:r>
            <a:endParaRPr sz="1200">
              <a:latin typeface="Calibri"/>
              <a:cs typeface="Calibri"/>
            </a:endParaRPr>
          </a:p>
        </p:txBody>
      </p:sp>
      <p:pic>
        <p:nvPicPr>
          <p:cNvPr id="10" name="Picture 9">
            <a:extLst>
              <a:ext uri="{FF2B5EF4-FFF2-40B4-BE49-F238E27FC236}">
                <a16:creationId xmlns:a16="http://schemas.microsoft.com/office/drawing/2014/main" id="{C0D7B9C7-AFFC-1A53-2C4A-7168D27B033A}"/>
              </a:ext>
              <a:ext uri="{C183D7F6-B498-43B3-948B-1728B52AA6E4}">
                <adec:decorative xmlns:adec="http://schemas.microsoft.com/office/drawing/2017/decorative" val="1"/>
              </a:ext>
            </a:extLst>
          </p:cNvPr>
          <p:cNvPicPr>
            <a:picLocks noChangeAspect="1"/>
          </p:cNvPicPr>
          <p:nvPr/>
        </p:nvPicPr>
        <p:blipFill rotWithShape="1">
          <a:blip r:embed="rId3"/>
          <a:srcRect r="31335"/>
          <a:stretch/>
        </p:blipFill>
        <p:spPr>
          <a:xfrm>
            <a:off x="6844734" y="1014523"/>
            <a:ext cx="4833745" cy="519677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597494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DB6A57-6C6B-45D4-A34A-8E56324477FD}"/>
              </a:ext>
            </a:extLst>
          </p:cNvPr>
          <p:cNvSpPr>
            <a:spLocks noGrp="1"/>
          </p:cNvSpPr>
          <p:nvPr>
            <p:ph type="title"/>
          </p:nvPr>
        </p:nvSpPr>
        <p:spPr>
          <a:xfrm>
            <a:off x="637953" y="104134"/>
            <a:ext cx="11164188" cy="751350"/>
          </a:xfrm>
        </p:spPr>
        <p:txBody>
          <a:bodyPr anchor="ctr">
            <a:normAutofit/>
          </a:bodyPr>
          <a:lstStyle/>
          <a:p>
            <a:r>
              <a:rPr lang="en-US" dirty="0"/>
              <a:t>ESSER Special Populations Brief – NEW!</a:t>
            </a:r>
          </a:p>
        </p:txBody>
      </p:sp>
      <p:graphicFrame>
        <p:nvGraphicFramePr>
          <p:cNvPr id="14" name="Content Placeholder 1">
            <a:extLst>
              <a:ext uri="{FF2B5EF4-FFF2-40B4-BE49-F238E27FC236}">
                <a16:creationId xmlns:a16="http://schemas.microsoft.com/office/drawing/2014/main" id="{8812C528-156C-218F-9852-44E3048A77BE}"/>
              </a:ext>
              <a:ext uri="{C183D7F6-B498-43B3-948B-1728B52AA6E4}">
                <adec:decorative xmlns:adec="http://schemas.microsoft.com/office/drawing/2017/decorative" val="1"/>
              </a:ext>
            </a:extLst>
          </p:cNvPr>
          <p:cNvGraphicFramePr>
            <a:graphicFrameLocks noGrp="1"/>
          </p:cNvGraphicFramePr>
          <p:nvPr>
            <p:ph idx="13"/>
            <p:extLst>
              <p:ext uri="{D42A27DB-BD31-4B8C-83A1-F6EECF244321}">
                <p14:modId xmlns:p14="http://schemas.microsoft.com/office/powerpoint/2010/main" val="4066871205"/>
              </p:ext>
            </p:extLst>
          </p:nvPr>
        </p:nvGraphicFramePr>
        <p:xfrm>
          <a:off x="838199" y="1018802"/>
          <a:ext cx="10515599" cy="54006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32425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B39ED91-5553-468F-8845-7D9C6FD83CD8}"/>
              </a:ext>
            </a:extLst>
          </p:cNvPr>
          <p:cNvSpPr>
            <a:spLocks noGrp="1"/>
          </p:cNvSpPr>
          <p:nvPr>
            <p:ph type="title" idx="4294967295"/>
          </p:nvPr>
        </p:nvSpPr>
        <p:spPr>
          <a:xfrm>
            <a:off x="1069975" y="153988"/>
            <a:ext cx="11122025" cy="750887"/>
          </a:xfrm>
        </p:spPr>
        <p:txBody>
          <a:bodyPr>
            <a:normAutofit/>
          </a:bodyPr>
          <a:lstStyle/>
          <a:p>
            <a:pPr algn="ctr"/>
            <a:r>
              <a:rPr lang="en-US"/>
              <a:t>Highly Mobile and At-Risk Student Programs Division </a:t>
            </a:r>
          </a:p>
        </p:txBody>
      </p:sp>
      <p:graphicFrame>
        <p:nvGraphicFramePr>
          <p:cNvPr id="13" name="Diagram 12" descr="Kelly Kravitz, Director; Cal Lopez State Coordinator, Jordan Brown Program Specialist, Dr. LaTrenda Watson At-Risk State Coordinator; Dr. Jimmy Bowser Highly Mobile State Coordinator ">
            <a:extLst>
              <a:ext uri="{FF2B5EF4-FFF2-40B4-BE49-F238E27FC236}">
                <a16:creationId xmlns:a16="http://schemas.microsoft.com/office/drawing/2014/main" id="{C0BBAED4-F9A6-46E8-B16E-22BED52A59EC}"/>
              </a:ext>
            </a:extLst>
          </p:cNvPr>
          <p:cNvGraphicFramePr/>
          <p:nvPr>
            <p:extLst>
              <p:ext uri="{D42A27DB-BD31-4B8C-83A1-F6EECF244321}">
                <p14:modId xmlns:p14="http://schemas.microsoft.com/office/powerpoint/2010/main" val="3240112236"/>
              </p:ext>
            </p:extLst>
          </p:nvPr>
        </p:nvGraphicFramePr>
        <p:xfrm>
          <a:off x="37467" y="1077411"/>
          <a:ext cx="12154533" cy="54651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7" name="Straight Arrow Connector 26">
            <a:extLst>
              <a:ext uri="{FF2B5EF4-FFF2-40B4-BE49-F238E27FC236}">
                <a16:creationId xmlns:a16="http://schemas.microsoft.com/office/drawing/2014/main" id="{E5C746F6-BFF9-4A6F-A765-D23AD0F31D6F}"/>
              </a:ext>
              <a:ext uri="{C183D7F6-B498-43B3-948B-1728B52AA6E4}">
                <adec:decorative xmlns:adec="http://schemas.microsoft.com/office/drawing/2017/decorative" val="1"/>
              </a:ext>
            </a:extLst>
          </p:cNvPr>
          <p:cNvCxnSpPr/>
          <p:nvPr/>
        </p:nvCxnSpPr>
        <p:spPr>
          <a:xfrm>
            <a:off x="-11502" y="872706"/>
            <a:ext cx="12307018" cy="0"/>
          </a:xfrm>
          <a:prstGeom prst="straightConnector1">
            <a:avLst/>
          </a:prstGeom>
          <a:ln w="571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347216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F77FB5-2874-85BC-5B52-603D729969C3}"/>
              </a:ext>
            </a:extLst>
          </p:cNvPr>
          <p:cNvSpPr>
            <a:spLocks noGrp="1"/>
          </p:cNvSpPr>
          <p:nvPr>
            <p:ph type="ctrTitle"/>
          </p:nvPr>
        </p:nvSpPr>
        <p:spPr/>
        <p:txBody>
          <a:bodyPr/>
          <a:lstStyle/>
          <a:p>
            <a:r>
              <a:rPr lang="en-US">
                <a:ea typeface="Calibri"/>
                <a:cs typeface="Calibri"/>
              </a:rPr>
              <a:t>General Updates </a:t>
            </a:r>
            <a:endParaRPr lang="en-US"/>
          </a:p>
        </p:txBody>
      </p:sp>
    </p:spTree>
    <p:extLst>
      <p:ext uri="{BB962C8B-B14F-4D97-AF65-F5344CB8AC3E}">
        <p14:creationId xmlns:p14="http://schemas.microsoft.com/office/powerpoint/2010/main" val="25155022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E563E3A5-EEE1-D5BD-C44A-6DCE0B39EAC0}"/>
              </a:ext>
            </a:extLst>
          </p:cNvPr>
          <p:cNvSpPr txBox="1">
            <a:spLocks noGrp="1"/>
          </p:cNvSpPr>
          <p:nvPr>
            <p:ph type="title"/>
          </p:nvPr>
        </p:nvSpPr>
        <p:spPr>
          <a:xfrm>
            <a:off x="712788" y="246020"/>
            <a:ext cx="11122025" cy="566822"/>
          </a:xfrm>
          <a:prstGeom prst="rect">
            <a:avLst/>
          </a:prstGeom>
        </p:spPr>
        <p:txBody>
          <a:bodyPr vert="horz" wrap="square" lIns="0" tIns="12700" rIns="0" bIns="0" rtlCol="0">
            <a:spAutoFit/>
          </a:bodyPr>
          <a:lstStyle/>
          <a:p>
            <a:pPr marL="12700" algn="ctr">
              <a:lnSpc>
                <a:spcPct val="100000"/>
              </a:lnSpc>
              <a:spcBef>
                <a:spcPts val="100"/>
              </a:spcBef>
            </a:pPr>
            <a:r>
              <a:t>TEHCY</a:t>
            </a:r>
            <a:r>
              <a:rPr spc="-80"/>
              <a:t> </a:t>
            </a:r>
            <a:r>
              <a:t>Upcoming</a:t>
            </a:r>
            <a:r>
              <a:rPr spc="-40"/>
              <a:t> </a:t>
            </a:r>
            <a:r>
              <a:rPr spc="-10"/>
              <a:t>Trainings</a:t>
            </a:r>
            <a:r>
              <a:rPr spc="-35"/>
              <a:t> </a:t>
            </a:r>
            <a:r>
              <a:t>and</a:t>
            </a:r>
            <a:r>
              <a:rPr spc="-50"/>
              <a:t> </a:t>
            </a:r>
            <a:r>
              <a:rPr spc="-10"/>
              <a:t>Events</a:t>
            </a:r>
          </a:p>
        </p:txBody>
      </p:sp>
      <p:graphicFrame>
        <p:nvGraphicFramePr>
          <p:cNvPr id="6" name="Table 6">
            <a:extLst>
              <a:ext uri="{FF2B5EF4-FFF2-40B4-BE49-F238E27FC236}">
                <a16:creationId xmlns:a16="http://schemas.microsoft.com/office/drawing/2014/main" id="{74ABFAE5-9947-411E-E7CB-C0F2432AF1B3}"/>
              </a:ext>
            </a:extLst>
          </p:cNvPr>
          <p:cNvGraphicFramePr>
            <a:graphicFrameLocks noGrp="1"/>
          </p:cNvGraphicFramePr>
          <p:nvPr>
            <p:ph idx="1"/>
          </p:nvPr>
        </p:nvGraphicFramePr>
        <p:xfrm>
          <a:off x="712788" y="1084218"/>
          <a:ext cx="10691086" cy="4480559"/>
        </p:xfrm>
        <a:graphic>
          <a:graphicData uri="http://schemas.openxmlformats.org/drawingml/2006/table">
            <a:tbl>
              <a:tblPr firstRow="1" bandRow="1">
                <a:tableStyleId>{3B4B98B0-60AC-42C2-AFA5-B58CD77FA1E5}</a:tableStyleId>
              </a:tblPr>
              <a:tblGrid>
                <a:gridCol w="5345543">
                  <a:extLst>
                    <a:ext uri="{9D8B030D-6E8A-4147-A177-3AD203B41FA5}">
                      <a16:colId xmlns:a16="http://schemas.microsoft.com/office/drawing/2014/main" val="2111299684"/>
                    </a:ext>
                  </a:extLst>
                </a:gridCol>
                <a:gridCol w="5345543">
                  <a:extLst>
                    <a:ext uri="{9D8B030D-6E8A-4147-A177-3AD203B41FA5}">
                      <a16:colId xmlns:a16="http://schemas.microsoft.com/office/drawing/2014/main" val="2296098786"/>
                    </a:ext>
                  </a:extLst>
                </a:gridCol>
              </a:tblGrid>
              <a:tr h="629427">
                <a:tc>
                  <a:txBody>
                    <a:bodyPr/>
                    <a:lstStyle/>
                    <a:p>
                      <a:pPr algn="ctr"/>
                      <a:r>
                        <a:rPr lang="en-US" sz="2800"/>
                        <a:t>Training</a:t>
                      </a:r>
                    </a:p>
                  </a:txBody>
                  <a:tcPr anchor="ctr"/>
                </a:tc>
                <a:tc>
                  <a:txBody>
                    <a:bodyPr/>
                    <a:lstStyle/>
                    <a:p>
                      <a:pPr algn="ctr"/>
                      <a:r>
                        <a:rPr lang="en-US" sz="2800"/>
                        <a:t>Date &amp; Time</a:t>
                      </a:r>
                    </a:p>
                  </a:txBody>
                  <a:tcPr anchor="ctr"/>
                </a:tc>
                <a:extLst>
                  <a:ext uri="{0D108BD9-81ED-4DB2-BD59-A6C34878D82A}">
                    <a16:rowId xmlns:a16="http://schemas.microsoft.com/office/drawing/2014/main" val="1516009770"/>
                  </a:ext>
                </a:extLst>
              </a:tr>
              <a:tr h="1505870">
                <a:tc>
                  <a:txBody>
                    <a:bodyPr/>
                    <a:lstStyle/>
                    <a:p>
                      <a:pPr algn="ctr"/>
                      <a:r>
                        <a:rPr lang="en-US" sz="2800"/>
                        <a:t>TEHCY / ARP Homeless I Grant Coffee Chat</a:t>
                      </a:r>
                    </a:p>
                  </a:txBody>
                  <a:tcPr anchor="ctr"/>
                </a:tc>
                <a:tc>
                  <a:txBody>
                    <a:bodyPr/>
                    <a:lstStyle/>
                    <a:p>
                      <a:pPr algn="ctr"/>
                      <a:r>
                        <a:rPr lang="en-US" sz="2400" strike="sngStrike"/>
                        <a:t>March 7</a:t>
                      </a:r>
                      <a:r>
                        <a:rPr lang="en-US" sz="2400" strike="sngStrike" baseline="30000"/>
                        <a:t>th</a:t>
                      </a:r>
                      <a:r>
                        <a:rPr lang="en-US" sz="2400" strike="sngStrike"/>
                        <a:t>, 2023</a:t>
                      </a:r>
                    </a:p>
                    <a:p>
                      <a:pPr algn="ctr"/>
                      <a:r>
                        <a:rPr lang="en-US" sz="2800"/>
                        <a:t>Tuesday, March 21</a:t>
                      </a:r>
                      <a:r>
                        <a:rPr lang="en-US" sz="2800" baseline="30000"/>
                        <a:t>st</a:t>
                      </a:r>
                      <a:r>
                        <a:rPr lang="en-US" sz="2800"/>
                        <a:t>, 2023</a:t>
                      </a:r>
                    </a:p>
                    <a:p>
                      <a:pPr algn="ctr"/>
                      <a:r>
                        <a:rPr lang="en-US" sz="2800"/>
                        <a:t>10:30 – 11:30 am</a:t>
                      </a:r>
                    </a:p>
                  </a:txBody>
                  <a:tcPr anchor="ctr"/>
                </a:tc>
                <a:extLst>
                  <a:ext uri="{0D108BD9-81ED-4DB2-BD59-A6C34878D82A}">
                    <a16:rowId xmlns:a16="http://schemas.microsoft.com/office/drawing/2014/main" val="958518322"/>
                  </a:ext>
                </a:extLst>
              </a:tr>
              <a:tr h="1086408">
                <a:tc>
                  <a:txBody>
                    <a:bodyPr/>
                    <a:lstStyle/>
                    <a:p>
                      <a:pPr algn="ctr"/>
                      <a:r>
                        <a:rPr lang="en-US" sz="2800"/>
                        <a:t>ARP Homeless II Grant Coffee Chat</a:t>
                      </a:r>
                    </a:p>
                  </a:txBody>
                  <a:tcPr anchor="ctr"/>
                </a:tc>
                <a:tc>
                  <a:txBody>
                    <a:bodyPr/>
                    <a:lstStyle/>
                    <a:p>
                      <a:pPr algn="ctr"/>
                      <a:r>
                        <a:rPr lang="en-US" sz="2800"/>
                        <a:t>Wednesday, March 29</a:t>
                      </a:r>
                      <a:r>
                        <a:rPr lang="en-US" sz="2800" baseline="30000"/>
                        <a:t>th</a:t>
                      </a:r>
                      <a:r>
                        <a:rPr lang="en-US" sz="2800"/>
                        <a:t>, 2023</a:t>
                      </a:r>
                    </a:p>
                    <a:p>
                      <a:pPr algn="ctr"/>
                      <a:r>
                        <a:rPr lang="en-US" sz="2800"/>
                        <a:t>10:00 – 11:00 am</a:t>
                      </a:r>
                    </a:p>
                  </a:txBody>
                  <a:tcPr anchor="ctr"/>
                </a:tc>
                <a:extLst>
                  <a:ext uri="{0D108BD9-81ED-4DB2-BD59-A6C34878D82A}">
                    <a16:rowId xmlns:a16="http://schemas.microsoft.com/office/drawing/2014/main" val="2264618708"/>
                  </a:ext>
                </a:extLst>
              </a:tr>
              <a:tr h="629427">
                <a:tc>
                  <a:txBody>
                    <a:bodyPr/>
                    <a:lstStyle/>
                    <a:p>
                      <a:pPr algn="ctr"/>
                      <a:r>
                        <a:rPr lang="en-US" sz="2800"/>
                        <a:t>Foster Youth Conference</a:t>
                      </a:r>
                    </a:p>
                  </a:txBody>
                  <a:tcPr anchor="ctr"/>
                </a:tc>
                <a:tc>
                  <a:txBody>
                    <a:bodyPr/>
                    <a:lstStyle/>
                    <a:p>
                      <a:pPr algn="ctr"/>
                      <a:r>
                        <a:rPr lang="en-US" sz="2800"/>
                        <a:t>April 6-7, 2023</a:t>
                      </a:r>
                    </a:p>
                  </a:txBody>
                  <a:tcPr anchor="ctr"/>
                </a:tc>
                <a:extLst>
                  <a:ext uri="{0D108BD9-81ED-4DB2-BD59-A6C34878D82A}">
                    <a16:rowId xmlns:a16="http://schemas.microsoft.com/office/drawing/2014/main" val="1126386948"/>
                  </a:ext>
                </a:extLst>
              </a:tr>
              <a:tr h="629427">
                <a:tc>
                  <a:txBody>
                    <a:bodyPr/>
                    <a:lstStyle/>
                    <a:p>
                      <a:pPr algn="ctr"/>
                      <a:r>
                        <a:rPr lang="en-US" sz="2800"/>
                        <a:t>ACET – San Marcos</a:t>
                      </a:r>
                    </a:p>
                  </a:txBody>
                  <a:tcPr anchor="ctr"/>
                </a:tc>
                <a:tc>
                  <a:txBody>
                    <a:bodyPr/>
                    <a:lstStyle/>
                    <a:p>
                      <a:pPr algn="ctr"/>
                      <a:r>
                        <a:rPr lang="en-US" sz="2800" dirty="0"/>
                        <a:t>April 26-28, 2023</a:t>
                      </a:r>
                    </a:p>
                  </a:txBody>
                  <a:tcPr anchor="ctr"/>
                </a:tc>
                <a:extLst>
                  <a:ext uri="{0D108BD9-81ED-4DB2-BD59-A6C34878D82A}">
                    <a16:rowId xmlns:a16="http://schemas.microsoft.com/office/drawing/2014/main" val="1188864224"/>
                  </a:ext>
                </a:extLst>
              </a:tr>
            </a:tbl>
          </a:graphicData>
        </a:graphic>
      </p:graphicFrame>
    </p:spTree>
    <p:extLst>
      <p:ext uri="{BB962C8B-B14F-4D97-AF65-F5344CB8AC3E}">
        <p14:creationId xmlns:p14="http://schemas.microsoft.com/office/powerpoint/2010/main" val="36688285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EF533-42CC-2889-DAF6-1412CA0A3351}"/>
              </a:ext>
            </a:extLst>
          </p:cNvPr>
          <p:cNvSpPr>
            <a:spLocks noGrp="1"/>
          </p:cNvSpPr>
          <p:nvPr>
            <p:ph type="title"/>
          </p:nvPr>
        </p:nvSpPr>
        <p:spPr/>
        <p:txBody>
          <a:bodyPr>
            <a:normAutofit/>
          </a:bodyPr>
          <a:lstStyle/>
          <a:p>
            <a:pPr algn="ctr"/>
            <a:r>
              <a:rPr lang="en-US">
                <a:cs typeface="Calibri" panose="020F0502020204030204"/>
              </a:rPr>
              <a:t>HMAR Webinars 2022-23 | Save the date!  </a:t>
            </a:r>
            <a:endParaRPr lang="en-US"/>
          </a:p>
        </p:txBody>
      </p:sp>
      <p:sp>
        <p:nvSpPr>
          <p:cNvPr id="15" name="Text Placeholder 4">
            <a:extLst>
              <a:ext uri="{FF2B5EF4-FFF2-40B4-BE49-F238E27FC236}">
                <a16:creationId xmlns:a16="http://schemas.microsoft.com/office/drawing/2014/main" id="{D7035641-0A19-72CD-D7BC-57BCB99B1000}"/>
              </a:ext>
            </a:extLst>
          </p:cNvPr>
          <p:cNvSpPr txBox="1">
            <a:spLocks/>
          </p:cNvSpPr>
          <p:nvPr/>
        </p:nvSpPr>
        <p:spPr>
          <a:xfrm>
            <a:off x="540086" y="1169170"/>
            <a:ext cx="4701454" cy="143046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4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b="1">
                <a:cs typeface="Calibri" panose="020F0502020204030204"/>
              </a:rPr>
              <a:t>Transition Assistance (Part II)</a:t>
            </a:r>
          </a:p>
          <a:p>
            <a:r>
              <a:rPr lang="en-US" sz="2800" b="1">
                <a:cs typeface="Calibri" panose="020F0502020204030204"/>
              </a:rPr>
              <a:t>Wednesday, April 5, 2023 </a:t>
            </a:r>
            <a:endParaRPr lang="en-US">
              <a:cs typeface="Calibri" panose="020F0502020204030204"/>
            </a:endParaRPr>
          </a:p>
          <a:p>
            <a:r>
              <a:rPr lang="en-US" sz="2800">
                <a:cs typeface="Calibri" panose="020F0502020204030204"/>
              </a:rPr>
              <a:t>10:00 am – 11:30 am </a:t>
            </a:r>
            <a:endParaRPr lang="en-US">
              <a:cs typeface="Calibri"/>
            </a:endParaRPr>
          </a:p>
          <a:p>
            <a:r>
              <a:rPr lang="en-US" sz="2800">
                <a:cs typeface="Calibri" panose="020F0502020204030204"/>
                <a:hlinkClick r:id="rId3"/>
              </a:rPr>
              <a:t>Register</a:t>
            </a:r>
            <a:endParaRPr lang="en-US" sz="2800">
              <a:cs typeface="Calibri" panose="020F0502020204030204"/>
            </a:endParaRPr>
          </a:p>
          <a:p>
            <a:endParaRPr lang="en-US">
              <a:cs typeface="Calibri" panose="020F0502020204030204"/>
            </a:endParaRPr>
          </a:p>
        </p:txBody>
      </p:sp>
      <p:sp>
        <p:nvSpPr>
          <p:cNvPr id="4" name="Text Placeholder 3">
            <a:extLst>
              <a:ext uri="{FF2B5EF4-FFF2-40B4-BE49-F238E27FC236}">
                <a16:creationId xmlns:a16="http://schemas.microsoft.com/office/drawing/2014/main" id="{F0B0798E-3077-A4D1-3FFC-C2BFE25D19ED}"/>
              </a:ext>
            </a:extLst>
          </p:cNvPr>
          <p:cNvSpPr>
            <a:spLocks noGrp="1"/>
          </p:cNvSpPr>
          <p:nvPr>
            <p:ph idx="1"/>
          </p:nvPr>
        </p:nvSpPr>
        <p:spPr>
          <a:xfrm>
            <a:off x="6448547" y="1169007"/>
            <a:ext cx="5383620" cy="4351338"/>
          </a:xfrm>
        </p:spPr>
        <p:txBody>
          <a:bodyPr lIns="91440" tIns="45720" rIns="91440" bIns="45720" anchor="t"/>
          <a:lstStyle/>
          <a:p>
            <a:r>
              <a:rPr lang="en-US" sz="2800" b="1">
                <a:cs typeface="Calibri"/>
              </a:rPr>
              <a:t>HMAR 4th Webinar</a:t>
            </a:r>
          </a:p>
          <a:p>
            <a:r>
              <a:rPr lang="en-US" sz="2800" b="1">
                <a:cs typeface="Calibri"/>
              </a:rPr>
              <a:t>Thursday, May 4, 2023</a:t>
            </a:r>
            <a:endParaRPr lang="en-US"/>
          </a:p>
          <a:p>
            <a:r>
              <a:rPr lang="en-US" sz="2800">
                <a:cs typeface="Calibri"/>
              </a:rPr>
              <a:t>1:00 pm – 2:30 pm </a:t>
            </a:r>
          </a:p>
          <a:p>
            <a:r>
              <a:rPr lang="en-US" sz="2800">
                <a:cs typeface="Calibri"/>
                <a:hlinkClick r:id="rId4"/>
              </a:rPr>
              <a:t>Register</a:t>
            </a:r>
            <a:endParaRPr lang="en-US" sz="2800">
              <a:cs typeface="Calibri"/>
            </a:endParaRPr>
          </a:p>
        </p:txBody>
      </p:sp>
      <p:sp>
        <p:nvSpPr>
          <p:cNvPr id="6" name="Text Placeholder 5">
            <a:extLst>
              <a:ext uri="{FF2B5EF4-FFF2-40B4-BE49-F238E27FC236}">
                <a16:creationId xmlns:a16="http://schemas.microsoft.com/office/drawing/2014/main" id="{BB9283E0-4D04-76EA-0F06-3AF472E53B68}"/>
              </a:ext>
              <a:ext uri="{C183D7F6-B498-43B3-948B-1728B52AA6E4}">
                <adec:decorative xmlns:adec="http://schemas.microsoft.com/office/drawing/2017/decorative" val="1"/>
              </a:ext>
            </a:extLst>
          </p:cNvPr>
          <p:cNvSpPr>
            <a:spLocks noGrp="1"/>
          </p:cNvSpPr>
          <p:nvPr>
            <p:ph idx="13"/>
          </p:nvPr>
        </p:nvSpPr>
        <p:spPr>
          <a:xfrm>
            <a:off x="5974167" y="1431642"/>
            <a:ext cx="5383620" cy="4351338"/>
          </a:xfrm>
        </p:spPr>
        <p:txBody>
          <a:bodyPr lIns="91440" tIns="45720" rIns="91440" bIns="45720" anchor="t"/>
          <a:lstStyle/>
          <a:p>
            <a:endParaRPr lang="en-US"/>
          </a:p>
          <a:p>
            <a:endParaRPr lang="en-US">
              <a:cs typeface="Calibri"/>
            </a:endParaRPr>
          </a:p>
        </p:txBody>
      </p:sp>
      <p:sp>
        <p:nvSpPr>
          <p:cNvPr id="7" name="Footer Placeholder 6">
            <a:extLst>
              <a:ext uri="{FF2B5EF4-FFF2-40B4-BE49-F238E27FC236}">
                <a16:creationId xmlns:a16="http://schemas.microsoft.com/office/drawing/2014/main" id="{BD671C56-5DC1-E791-18EF-9001640845BF}"/>
              </a:ext>
            </a:extLst>
          </p:cNvPr>
          <p:cNvSpPr>
            <a:spLocks noGrp="1"/>
          </p:cNvSpPr>
          <p:nvPr>
            <p:ph type="ftr" sz="quarter" idx="3"/>
          </p:nvPr>
        </p:nvSpPr>
        <p:spPr/>
        <p:txBody>
          <a:bodyPr/>
          <a:lstStyle/>
          <a:p>
            <a:r>
              <a:rPr lang="en-US"/>
              <a:t>Copyright ©Texas Education Agency, 2023.  All rights reserved.</a:t>
            </a:r>
          </a:p>
        </p:txBody>
      </p:sp>
      <p:sp>
        <p:nvSpPr>
          <p:cNvPr id="8" name="Slide Number Placeholder 7">
            <a:extLst>
              <a:ext uri="{FF2B5EF4-FFF2-40B4-BE49-F238E27FC236}">
                <a16:creationId xmlns:a16="http://schemas.microsoft.com/office/drawing/2014/main" id="{91A40E18-2634-FD8C-3C21-E12BFEEFADE3}"/>
              </a:ext>
            </a:extLst>
          </p:cNvPr>
          <p:cNvSpPr>
            <a:spLocks noGrp="1"/>
          </p:cNvSpPr>
          <p:nvPr>
            <p:ph type="sldNum" sz="quarter" idx="4"/>
          </p:nvPr>
        </p:nvSpPr>
        <p:spPr/>
        <p:txBody>
          <a:bodyPr/>
          <a:lstStyle/>
          <a:p>
            <a:fld id="{36E0BB99-4BC6-4A0C-8A2D-DFAC2B0823DA}" type="slidenum">
              <a:rPr lang="en-US" smtClean="0"/>
              <a:t>22</a:t>
            </a:fld>
            <a:endParaRPr lang="en-US"/>
          </a:p>
        </p:txBody>
      </p:sp>
    </p:spTree>
    <p:extLst>
      <p:ext uri="{BB962C8B-B14F-4D97-AF65-F5344CB8AC3E}">
        <p14:creationId xmlns:p14="http://schemas.microsoft.com/office/powerpoint/2010/main" val="23788924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F5E1A-881B-4709-B5C6-F8FA7ABF397F}"/>
              </a:ext>
            </a:extLst>
          </p:cNvPr>
          <p:cNvSpPr>
            <a:spLocks noGrp="1"/>
          </p:cNvSpPr>
          <p:nvPr>
            <p:ph type="title"/>
          </p:nvPr>
        </p:nvSpPr>
        <p:spPr/>
        <p:txBody>
          <a:bodyPr>
            <a:normAutofit fontScale="90000"/>
          </a:bodyPr>
          <a:lstStyle/>
          <a:p>
            <a:r>
              <a:rPr lang="en-US"/>
              <a:t>HM&amp;AR Division Emails </a:t>
            </a:r>
          </a:p>
        </p:txBody>
      </p:sp>
      <p:grpSp>
        <p:nvGrpSpPr>
          <p:cNvPr id="3" name="Group 2" descr="provides division email contacts ">
            <a:extLst>
              <a:ext uri="{FF2B5EF4-FFF2-40B4-BE49-F238E27FC236}">
                <a16:creationId xmlns:a16="http://schemas.microsoft.com/office/drawing/2014/main" id="{77013153-6DE7-4A3A-8996-7E36F3409B89}"/>
              </a:ext>
            </a:extLst>
          </p:cNvPr>
          <p:cNvGrpSpPr/>
          <p:nvPr/>
        </p:nvGrpSpPr>
        <p:grpSpPr>
          <a:xfrm>
            <a:off x="2693746" y="1088050"/>
            <a:ext cx="8128000" cy="5418667"/>
            <a:chOff x="3800195" y="1195382"/>
            <a:chExt cx="8128000" cy="5418667"/>
          </a:xfrm>
        </p:grpSpPr>
        <p:graphicFrame>
          <p:nvGraphicFramePr>
            <p:cNvPr id="4" name="Diagram 3">
              <a:extLst>
                <a:ext uri="{FF2B5EF4-FFF2-40B4-BE49-F238E27FC236}">
                  <a16:creationId xmlns:a16="http://schemas.microsoft.com/office/drawing/2014/main" id="{49BBC04C-0BBE-43F4-A4E4-8ECB18D682DE}"/>
                </a:ext>
              </a:extLst>
            </p:cNvPr>
            <p:cNvGraphicFramePr/>
            <p:nvPr>
              <p:extLst>
                <p:ext uri="{D42A27DB-BD31-4B8C-83A1-F6EECF244321}">
                  <p14:modId xmlns:p14="http://schemas.microsoft.com/office/powerpoint/2010/main" val="1435422638"/>
                </p:ext>
              </p:extLst>
            </p:nvPr>
          </p:nvGraphicFramePr>
          <p:xfrm>
            <a:off x="3800195" y="1195382"/>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Graphic 4" descr="Baby crawling">
              <a:extLst>
                <a:ext uri="{FF2B5EF4-FFF2-40B4-BE49-F238E27FC236}">
                  <a16:creationId xmlns:a16="http://schemas.microsoft.com/office/drawing/2014/main" id="{139D16E3-0081-4848-800C-462BF3B15B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10255" y="2474401"/>
              <a:ext cx="769397" cy="743998"/>
            </a:xfrm>
            <a:prstGeom prst="rect">
              <a:avLst/>
            </a:prstGeom>
          </p:spPr>
        </p:pic>
        <p:pic>
          <p:nvPicPr>
            <p:cNvPr id="7" name="Graphic 6" descr="Link">
              <a:extLst>
                <a:ext uri="{FF2B5EF4-FFF2-40B4-BE49-F238E27FC236}">
                  <a16:creationId xmlns:a16="http://schemas.microsoft.com/office/drawing/2014/main" id="{6A940BF3-5A30-485E-96A8-48C7D752781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72131" y="5605759"/>
              <a:ext cx="658726" cy="658726"/>
            </a:xfrm>
            <a:prstGeom prst="rect">
              <a:avLst/>
            </a:prstGeom>
          </p:spPr>
        </p:pic>
        <p:sp>
          <p:nvSpPr>
            <p:cNvPr id="8" name="Oval 7">
              <a:extLst>
                <a:ext uri="{FF2B5EF4-FFF2-40B4-BE49-F238E27FC236}">
                  <a16:creationId xmlns:a16="http://schemas.microsoft.com/office/drawing/2014/main" id="{9F449D71-55A3-4619-B9A6-3AA34ED3BBF6}"/>
                </a:ext>
              </a:extLst>
            </p:cNvPr>
            <p:cNvSpPr>
              <a:spLocks noChangeAspect="1"/>
            </p:cNvSpPr>
            <p:nvPr/>
          </p:nvSpPr>
          <p:spPr>
            <a:xfrm>
              <a:off x="4400771" y="4549146"/>
              <a:ext cx="788363" cy="761230"/>
            </a:xfrm>
            <a:prstGeom prst="ellipse">
              <a:avLst/>
            </a:prstGeom>
            <a:blipFill rotWithShape="0">
              <a:blip r:embed="rId12">
                <a:extLst>
                  <a:ext uri="{28A0092B-C50C-407E-A947-70E740481C1C}">
                    <a14:useLocalDpi xmlns:a14="http://schemas.microsoft.com/office/drawing/2010/main" val="0"/>
                  </a:ext>
                </a:extLst>
              </a:blip>
              <a:srcRect/>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Oval 8">
              <a:extLst>
                <a:ext uri="{FF2B5EF4-FFF2-40B4-BE49-F238E27FC236}">
                  <a16:creationId xmlns:a16="http://schemas.microsoft.com/office/drawing/2014/main" id="{EDFF0D15-5723-460E-901A-0226C511C9CB}"/>
                </a:ext>
              </a:extLst>
            </p:cNvPr>
            <p:cNvSpPr/>
            <p:nvPr/>
          </p:nvSpPr>
          <p:spPr>
            <a:xfrm>
              <a:off x="4600253" y="3567963"/>
              <a:ext cx="685800" cy="685801"/>
            </a:xfrm>
            <a:prstGeom prst="ellipse">
              <a:avLst/>
            </a:prstGeom>
            <a:blipFill rotWithShape="0">
              <a:blip r:embed="rId13">
                <a:extLst>
                  <a:ext uri="{28A0092B-C50C-407E-A947-70E740481C1C}">
                    <a14:useLocalDpi xmlns:a14="http://schemas.microsoft.com/office/drawing/2010/main" val="0"/>
                  </a:ext>
                </a:extLst>
              </a:blip>
              <a:srcRect/>
              <a:stretch>
                <a:fillRect l="-18000" r="-18000"/>
              </a:stretch>
            </a:blipFill>
            <a:ln w="28575">
              <a:solidFill>
                <a:srgbClr val="0D6CB9"/>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0" name="Oval 9">
              <a:extLst>
                <a:ext uri="{FF2B5EF4-FFF2-40B4-BE49-F238E27FC236}">
                  <a16:creationId xmlns:a16="http://schemas.microsoft.com/office/drawing/2014/main" id="{E51B333D-D0FE-44D5-A20E-F255409220A7}"/>
                </a:ext>
              </a:extLst>
            </p:cNvPr>
            <p:cNvSpPr/>
            <p:nvPr/>
          </p:nvSpPr>
          <p:spPr>
            <a:xfrm>
              <a:off x="3913676" y="1624482"/>
              <a:ext cx="686577" cy="713096"/>
            </a:xfrm>
            <a:prstGeom prst="ellipse">
              <a:avLst/>
            </a:prstGeom>
            <a:blipFill rotWithShape="0">
              <a:blip r:embed="rId14">
                <a:extLst>
                  <a:ext uri="{28A0092B-C50C-407E-A947-70E740481C1C}">
                    <a14:useLocalDpi xmlns:a14="http://schemas.microsoft.com/office/drawing/2010/main" val="0"/>
                  </a:ext>
                </a:extLst>
              </a:blip>
              <a:srcRect/>
              <a:stretch>
                <a:fillRect/>
              </a:stretch>
            </a:blipFill>
            <a:ln w="28575">
              <a:solidFill>
                <a:srgbClr val="0D6CB9"/>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sp>
        <p:nvSpPr>
          <p:cNvPr id="37" name="Footer Placeholder 6">
            <a:extLst>
              <a:ext uri="{FF2B5EF4-FFF2-40B4-BE49-F238E27FC236}">
                <a16:creationId xmlns:a16="http://schemas.microsoft.com/office/drawing/2014/main" id="{EC57E633-BF6C-155B-5E97-02ABE2E55CE4}"/>
              </a:ext>
            </a:extLst>
          </p:cNvPr>
          <p:cNvSpPr txBox="1">
            <a:spLocks/>
          </p:cNvSpPr>
          <p:nvPr/>
        </p:nvSpPr>
        <p:spPr>
          <a:xfrm>
            <a:off x="4654062" y="6622492"/>
            <a:ext cx="6264030"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t>Copyright ©Texas Education Agency, 2023.  All rights reserved.</a:t>
            </a:r>
          </a:p>
        </p:txBody>
      </p:sp>
    </p:spTree>
    <p:extLst>
      <p:ext uri="{BB962C8B-B14F-4D97-AF65-F5344CB8AC3E}">
        <p14:creationId xmlns:p14="http://schemas.microsoft.com/office/powerpoint/2010/main" val="24455111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8DACC-A297-97AE-837B-138D974556E4}"/>
              </a:ext>
            </a:extLst>
          </p:cNvPr>
          <p:cNvSpPr>
            <a:spLocks noGrp="1"/>
          </p:cNvSpPr>
          <p:nvPr>
            <p:ph type="title" idx="4294967295"/>
          </p:nvPr>
        </p:nvSpPr>
        <p:spPr>
          <a:xfrm>
            <a:off x="637953" y="-641"/>
            <a:ext cx="11164188" cy="751350"/>
          </a:xfrm>
        </p:spPr>
        <p:txBody>
          <a:bodyPr/>
          <a:lstStyle/>
          <a:p>
            <a:r>
              <a:rPr lang="en-US"/>
              <a:t>TEA HMAR Webpage </a:t>
            </a:r>
          </a:p>
        </p:txBody>
      </p:sp>
      <p:pic>
        <p:nvPicPr>
          <p:cNvPr id="4" name="Content Placeholder 3">
            <a:extLst>
              <a:ext uri="{FF2B5EF4-FFF2-40B4-BE49-F238E27FC236}">
                <a16:creationId xmlns:a16="http://schemas.microsoft.com/office/drawing/2014/main" id="{45213654-FACF-49A8-A0D5-E48E99487B30}"/>
              </a:ext>
              <a:ext uri="{C183D7F6-B498-43B3-948B-1728B52AA6E4}">
                <adec:decorative xmlns:adec="http://schemas.microsoft.com/office/drawing/2017/decorative" val="1"/>
              </a:ext>
            </a:extLst>
          </p:cNvPr>
          <p:cNvPicPr>
            <a:picLocks noGrp="1" noChangeAspect="1"/>
          </p:cNvPicPr>
          <p:nvPr>
            <p:ph idx="4294967295"/>
          </p:nvPr>
        </p:nvPicPr>
        <p:blipFill>
          <a:blip r:embed="rId3"/>
          <a:stretch>
            <a:fillRect/>
          </a:stretch>
        </p:blipFill>
        <p:spPr>
          <a:xfrm>
            <a:off x="636179" y="736014"/>
            <a:ext cx="7974013" cy="5383213"/>
          </a:xfrm>
          <a:prstGeom prst="rect">
            <a:avLst/>
          </a:prstGeom>
          <a:ln>
            <a:solidFill>
              <a:schemeClr val="tx1"/>
            </a:solidFill>
          </a:ln>
        </p:spPr>
      </p:pic>
      <p:sp>
        <p:nvSpPr>
          <p:cNvPr id="6" name="Oval 5">
            <a:extLst>
              <a:ext uri="{FF2B5EF4-FFF2-40B4-BE49-F238E27FC236}">
                <a16:creationId xmlns:a16="http://schemas.microsoft.com/office/drawing/2014/main" id="{1FBAB2AC-6B2A-4D43-883D-3C24B93B99F2}"/>
              </a:ext>
              <a:ext uri="{C183D7F6-B498-43B3-948B-1728B52AA6E4}">
                <adec:decorative xmlns:adec="http://schemas.microsoft.com/office/drawing/2017/decorative" val="1"/>
              </a:ext>
            </a:extLst>
          </p:cNvPr>
          <p:cNvSpPr/>
          <p:nvPr/>
        </p:nvSpPr>
        <p:spPr>
          <a:xfrm>
            <a:off x="4511337" y="5014161"/>
            <a:ext cx="1930015" cy="433136"/>
          </a:xfrm>
          <a:custGeom>
            <a:avLst/>
            <a:gdLst>
              <a:gd name="connsiteX0" fmla="*/ 0 w 1930015"/>
              <a:gd name="connsiteY0" fmla="*/ 216568 h 433136"/>
              <a:gd name="connsiteX1" fmla="*/ 965008 w 1930015"/>
              <a:gd name="connsiteY1" fmla="*/ 0 h 433136"/>
              <a:gd name="connsiteX2" fmla="*/ 1930016 w 1930015"/>
              <a:gd name="connsiteY2" fmla="*/ 216568 h 433136"/>
              <a:gd name="connsiteX3" fmla="*/ 965008 w 1930015"/>
              <a:gd name="connsiteY3" fmla="*/ 433136 h 433136"/>
              <a:gd name="connsiteX4" fmla="*/ 0 w 1930015"/>
              <a:gd name="connsiteY4" fmla="*/ 216568 h 43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015" h="433136" extrusionOk="0">
                <a:moveTo>
                  <a:pt x="0" y="216568"/>
                </a:moveTo>
                <a:cubicBezTo>
                  <a:pt x="-76789" y="100246"/>
                  <a:pt x="457852" y="25369"/>
                  <a:pt x="965008" y="0"/>
                </a:cubicBezTo>
                <a:cubicBezTo>
                  <a:pt x="1500930" y="6082"/>
                  <a:pt x="1930566" y="113744"/>
                  <a:pt x="1930016" y="216568"/>
                </a:cubicBezTo>
                <a:cubicBezTo>
                  <a:pt x="1906366" y="300495"/>
                  <a:pt x="1538449" y="482082"/>
                  <a:pt x="965008" y="433136"/>
                </a:cubicBezTo>
                <a:cubicBezTo>
                  <a:pt x="434802" y="422897"/>
                  <a:pt x="8814" y="352609"/>
                  <a:pt x="0" y="216568"/>
                </a:cubicBezTo>
                <a:close/>
              </a:path>
            </a:pathLst>
          </a:custGeom>
          <a:noFill/>
          <a:ln w="19050" cap="flat" cmpd="sng" algn="ctr">
            <a:solidFill>
              <a:schemeClr val="accent3"/>
            </a:solidFill>
            <a:prstDash val="solid"/>
            <a:round/>
            <a:headEnd type="none" w="med" len="med"/>
            <a:tailEnd type="none" w="med" len="med"/>
            <a:extLst>
              <a:ext uri="{C807C97D-BFC1-408E-A445-0C87EB9F89A2}">
                <ask:lineSketchStyleProps xmlns:ask="http://schemas.microsoft.com/office/drawing/2018/sketchyshapes" sd="2650216993">
                  <a:prstGeom prst="ellipse">
                    <a:avLst/>
                  </a:prstGeom>
                  <ask:type>
                    <ask:lineSketchCurved/>
                  </ask:type>
                </ask:lineSketchStyleProps>
              </a:ext>
            </a:extLst>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pic>
        <p:nvPicPr>
          <p:cNvPr id="9" name="Graphic 8" descr="Cursor">
            <a:extLst>
              <a:ext uri="{FF2B5EF4-FFF2-40B4-BE49-F238E27FC236}">
                <a16:creationId xmlns:a16="http://schemas.microsoft.com/office/drawing/2014/main" id="{41D4856B-6EA4-4EA3-A3DD-89925D2C7A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56432" y="1356894"/>
            <a:ext cx="568159" cy="568159"/>
          </a:xfrm>
          <a:prstGeom prst="rect">
            <a:avLst/>
          </a:prstGeom>
        </p:spPr>
      </p:pic>
      <p:pic>
        <p:nvPicPr>
          <p:cNvPr id="3" name="Picture 2" descr="screenshot of division webpage ">
            <a:extLst>
              <a:ext uri="{FF2B5EF4-FFF2-40B4-BE49-F238E27FC236}">
                <a16:creationId xmlns:a16="http://schemas.microsoft.com/office/drawing/2014/main" id="{3100653C-F1ED-4198-A54B-B2D1561664EB}"/>
              </a:ext>
            </a:extLst>
          </p:cNvPr>
          <p:cNvPicPr>
            <a:picLocks noChangeAspect="1"/>
          </p:cNvPicPr>
          <p:nvPr/>
        </p:nvPicPr>
        <p:blipFill>
          <a:blip r:embed="rId6"/>
          <a:stretch>
            <a:fillRect/>
          </a:stretch>
        </p:blipFill>
        <p:spPr>
          <a:xfrm>
            <a:off x="6722134" y="478839"/>
            <a:ext cx="4991589" cy="6281633"/>
          </a:xfrm>
          <a:prstGeom prst="rect">
            <a:avLst/>
          </a:prstGeom>
          <a:ln>
            <a:solidFill>
              <a:schemeClr val="tx1"/>
            </a:solidFill>
          </a:ln>
        </p:spPr>
      </p:pic>
    </p:spTree>
    <p:extLst>
      <p:ext uri="{BB962C8B-B14F-4D97-AF65-F5344CB8AC3E}">
        <p14:creationId xmlns:p14="http://schemas.microsoft.com/office/powerpoint/2010/main" val="3642742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08333E-7 -1.85185E-6 L 0.19271 0.5132 " pathEditMode="relative" rAng="0" ptsTypes="AA">
                                      <p:cBhvr>
                                        <p:cTn id="6" dur="2000" fill="hold"/>
                                        <p:tgtEl>
                                          <p:spTgt spid="9"/>
                                        </p:tgtEl>
                                        <p:attrNameLst>
                                          <p:attrName>ppt_x</p:attrName>
                                          <p:attrName>ppt_y</p:attrName>
                                        </p:attrNameLst>
                                      </p:cBhvr>
                                      <p:rCtr x="9635" y="25648"/>
                                    </p:animMotion>
                                  </p:childTnLst>
                                </p:cTn>
                              </p:par>
                            </p:childTnLst>
                          </p:cTn>
                        </p:par>
                        <p:par>
                          <p:cTn id="7" fill="hold">
                            <p:stCondLst>
                              <p:cond delay="2000"/>
                            </p:stCondLst>
                            <p:childTnLst>
                              <p:par>
                                <p:cTn id="8" presetID="21" presetClass="entr" presetSubtype="1"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heel(1)">
                                      <p:cBhvr>
                                        <p:cTn id="10" dur="1750"/>
                                        <p:tgtEl>
                                          <p:spTgt spid="6"/>
                                        </p:tgtEl>
                                      </p:cBhvr>
                                    </p:animEffect>
                                  </p:childTnLst>
                                </p:cTn>
                              </p:par>
                            </p:childTnLst>
                          </p:cTn>
                        </p:par>
                        <p:par>
                          <p:cTn id="11" fill="hold">
                            <p:stCondLst>
                              <p:cond delay="3750"/>
                            </p:stCondLst>
                            <p:childTnLst>
                              <p:par>
                                <p:cTn id="12" presetID="42" presetClass="path" presetSubtype="0" accel="50000" decel="50000" fill="hold" nodeType="afterEffect">
                                  <p:stCondLst>
                                    <p:cond delay="0"/>
                                  </p:stCondLst>
                                  <p:childTnLst>
                                    <p:animMotion origin="layout" path="M 0.19271 0.5132 L 0.35104 0.71343 " pathEditMode="relative" rAng="0" ptsTypes="AA">
                                      <p:cBhvr>
                                        <p:cTn id="13" dur="2000" fill="hold"/>
                                        <p:tgtEl>
                                          <p:spTgt spid="9"/>
                                        </p:tgtEl>
                                        <p:attrNameLst>
                                          <p:attrName>ppt_x</p:attrName>
                                          <p:attrName>ppt_y</p:attrName>
                                        </p:attrNameLst>
                                      </p:cBhvr>
                                      <p:rCtr x="7917" y="10000"/>
                                    </p:animMotion>
                                  </p:childTnLst>
                                </p:cTn>
                              </p:par>
                            </p:childTnLst>
                          </p:cTn>
                        </p:par>
                        <p:par>
                          <p:cTn id="14" fill="hold">
                            <p:stCondLst>
                              <p:cond delay="5750"/>
                            </p:stCondLst>
                            <p:childTnLst>
                              <p:par>
                                <p:cTn id="15" presetID="42" presetClass="path" presetSubtype="0" accel="50000" decel="50000" fill="hold" nodeType="afterEffect">
                                  <p:stCondLst>
                                    <p:cond delay="0"/>
                                  </p:stCondLst>
                                  <p:childTnLst>
                                    <p:animMotion origin="layout" path="M 0.35104 0.71343 L 0.59714 0.70996 " pathEditMode="relative" rAng="0" ptsTypes="AA">
                                      <p:cBhvr>
                                        <p:cTn id="16" dur="2000" fill="hold"/>
                                        <p:tgtEl>
                                          <p:spTgt spid="9"/>
                                        </p:tgtEl>
                                        <p:attrNameLst>
                                          <p:attrName>ppt_x</p:attrName>
                                          <p:attrName>ppt_y</p:attrName>
                                        </p:attrNameLst>
                                      </p:cBhvr>
                                      <p:rCtr x="12305" y="-1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normAutofit/>
          </a:bodyPr>
          <a:lstStyle/>
          <a:p>
            <a:pPr algn="ctr"/>
            <a:r>
              <a:rPr lang="en-US"/>
              <a:t>Sign Up for Updates!</a:t>
            </a:r>
          </a:p>
        </p:txBody>
      </p:sp>
      <p:pic>
        <p:nvPicPr>
          <p:cNvPr id="11" name="Picture 10">
            <a:extLst>
              <a:ext uri="{FF2B5EF4-FFF2-40B4-BE49-F238E27FC236}">
                <a16:creationId xmlns:a16="http://schemas.microsoft.com/office/drawing/2014/main" id="{075C72DC-C363-4AE7-B7FD-BB584FF5534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24120" y="904580"/>
            <a:ext cx="6213838" cy="4887872"/>
          </a:xfrm>
          <a:prstGeom prst="rect">
            <a:avLst/>
          </a:prstGeom>
        </p:spPr>
      </p:pic>
      <p:sp>
        <p:nvSpPr>
          <p:cNvPr id="13" name="Oval 12">
            <a:extLst>
              <a:ext uri="{FF2B5EF4-FFF2-40B4-BE49-F238E27FC236}">
                <a16:creationId xmlns:a16="http://schemas.microsoft.com/office/drawing/2014/main" id="{CFAE4BE4-CB99-4DD0-A684-C0667523C951}"/>
              </a:ext>
              <a:ext uri="{C183D7F6-B498-43B3-948B-1728B52AA6E4}">
                <adec:decorative xmlns:adec="http://schemas.microsoft.com/office/drawing/2017/decorative" val="1"/>
              </a:ext>
            </a:extLst>
          </p:cNvPr>
          <p:cNvSpPr/>
          <p:nvPr/>
        </p:nvSpPr>
        <p:spPr>
          <a:xfrm>
            <a:off x="5058888" y="1270996"/>
            <a:ext cx="801908" cy="34964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FA209864-B2EE-458D-862C-58ABDFFBC3AB}"/>
              </a:ext>
              <a:ext uri="{C183D7F6-B498-43B3-948B-1728B52AA6E4}">
                <adec:decorative xmlns:adec="http://schemas.microsoft.com/office/drawing/2017/decorative" val="1"/>
              </a:ext>
            </a:extLst>
          </p:cNvPr>
          <p:cNvGrpSpPr/>
          <p:nvPr/>
        </p:nvGrpSpPr>
        <p:grpSpPr>
          <a:xfrm>
            <a:off x="6991706" y="1211316"/>
            <a:ext cx="4385277" cy="4581136"/>
            <a:chOff x="6833050" y="1063382"/>
            <a:chExt cx="4585847" cy="4708621"/>
          </a:xfrm>
        </p:grpSpPr>
        <p:pic>
          <p:nvPicPr>
            <p:cNvPr id="5" name="Picture 4" descr="Select foster care and student success, pregnancy programs, McKinney-Vento homeless education, At-Risk and Highly mobile student program division, Military connected students, and mental and behavioral health.">
              <a:extLst>
                <a:ext uri="{FF2B5EF4-FFF2-40B4-BE49-F238E27FC236}">
                  <a16:creationId xmlns:a16="http://schemas.microsoft.com/office/drawing/2014/main" id="{67AE85B6-BD34-4F0C-A442-D46265799D04}"/>
                </a:ext>
              </a:extLst>
            </p:cNvPr>
            <p:cNvPicPr>
              <a:picLocks noChangeAspect="1"/>
            </p:cNvPicPr>
            <p:nvPr/>
          </p:nvPicPr>
          <p:blipFill rotWithShape="1">
            <a:blip r:embed="rId4"/>
            <a:srcRect l="32309" t="20471" r="43343" b="35084"/>
            <a:stretch/>
          </p:blipFill>
          <p:spPr>
            <a:xfrm>
              <a:off x="6833050" y="1063382"/>
              <a:ext cx="4585847" cy="4708621"/>
            </a:xfrm>
            <a:prstGeom prst="rect">
              <a:avLst/>
            </a:prstGeom>
          </p:spPr>
        </p:pic>
        <p:sp>
          <p:nvSpPr>
            <p:cNvPr id="12" name="Oval 11">
              <a:extLst>
                <a:ext uri="{FF2B5EF4-FFF2-40B4-BE49-F238E27FC236}">
                  <a16:creationId xmlns:a16="http://schemas.microsoft.com/office/drawing/2014/main" id="{A9B8324C-DBF5-4C17-AFE5-2F2AE0BD2D5C}"/>
                </a:ext>
                <a:ext uri="{C183D7F6-B498-43B3-948B-1728B52AA6E4}">
                  <adec:decorative xmlns:adec="http://schemas.microsoft.com/office/drawing/2017/decorative" val="1"/>
                </a:ext>
              </a:extLst>
            </p:cNvPr>
            <p:cNvSpPr/>
            <p:nvPr/>
          </p:nvSpPr>
          <p:spPr>
            <a:xfrm>
              <a:off x="7373587" y="1411039"/>
              <a:ext cx="2558473" cy="378691"/>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77902B4F-F7DE-468D-B626-466DD4A69B0E}"/>
                </a:ext>
                <a:ext uri="{C183D7F6-B498-43B3-948B-1728B52AA6E4}">
                  <adec:decorative xmlns:adec="http://schemas.microsoft.com/office/drawing/2017/decorative" val="1"/>
                </a:ext>
              </a:extLst>
            </p:cNvPr>
            <p:cNvSpPr/>
            <p:nvPr/>
          </p:nvSpPr>
          <p:spPr>
            <a:xfrm>
              <a:off x="7447478" y="3700530"/>
              <a:ext cx="2623128" cy="42729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C9AA1319-A6F8-47A8-8DAA-C4B0BAD8FB0C}"/>
                </a:ext>
                <a:ext uri="{C183D7F6-B498-43B3-948B-1728B52AA6E4}">
                  <adec:decorative xmlns:adec="http://schemas.microsoft.com/office/drawing/2017/decorative" val="1"/>
                </a:ext>
              </a:extLst>
            </p:cNvPr>
            <p:cNvSpPr/>
            <p:nvPr/>
          </p:nvSpPr>
          <p:spPr>
            <a:xfrm>
              <a:off x="7373587" y="4343487"/>
              <a:ext cx="3590636" cy="405241"/>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8B3E14A6-D438-4DF8-969A-7717DBB90F4B}"/>
                </a:ext>
                <a:ext uri="{C183D7F6-B498-43B3-948B-1728B52AA6E4}">
                  <adec:decorative xmlns:adec="http://schemas.microsoft.com/office/drawing/2017/decorative" val="1"/>
                </a:ext>
              </a:extLst>
            </p:cNvPr>
            <p:cNvSpPr/>
            <p:nvPr/>
          </p:nvSpPr>
          <p:spPr>
            <a:xfrm>
              <a:off x="7398985" y="5069936"/>
              <a:ext cx="2272145" cy="34061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7" name="Picture 16">
            <a:extLst>
              <a:ext uri="{FF2B5EF4-FFF2-40B4-BE49-F238E27FC236}">
                <a16:creationId xmlns:a16="http://schemas.microsoft.com/office/drawing/2014/main" id="{64C9AD0E-8951-4CF7-A725-2AE889879822}"/>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78631" y="4898263"/>
            <a:ext cx="1496841" cy="1496841"/>
          </a:xfrm>
          <a:prstGeom prst="rect">
            <a:avLst/>
          </a:prstGeom>
        </p:spPr>
      </p:pic>
      <p:sp>
        <p:nvSpPr>
          <p:cNvPr id="3" name="Footer Placeholder 2"/>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opyright ©Texas Education Agency, 2020.  All rights reserved.</a:t>
            </a: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5687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txBox="1">
            <a:spLocks noGrp="1"/>
          </p:cNvSpPr>
          <p:nvPr>
            <p:ph type="title" idx="4294967295"/>
          </p:nvPr>
        </p:nvSpPr>
        <p:spPr>
          <a:xfrm>
            <a:off x="1297056" y="440574"/>
            <a:ext cx="9597887" cy="710206"/>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fontScale="77500" lnSpcReduction="20000"/>
          </a:bodyPr>
          <a:lstStyle>
            <a:lvl1pPr algn="ctr" defTabSz="914400" rtl="0" eaLnBrk="1" latinLnBrk="0" hangingPunct="1">
              <a:lnSpc>
                <a:spcPct val="90000"/>
              </a:lnSpc>
              <a:spcBef>
                <a:spcPct val="0"/>
              </a:spcBef>
              <a:buNone/>
              <a:defRPr sz="6600" b="1" kern="1200">
                <a:solidFill>
                  <a:srgbClr val="3C6EBE"/>
                </a:solidFill>
                <a:latin typeface="Open Sans Semibold" panose="020B0606030504020204"/>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600" b="1" i="0" u="none" strike="noStrike" kern="1200" cap="none" spc="0" normalizeH="0" baseline="0" noProof="0" dirty="0">
                <a:ln>
                  <a:noFill/>
                </a:ln>
                <a:solidFill>
                  <a:srgbClr val="3C6EBE"/>
                </a:solidFill>
                <a:effectLst/>
                <a:uLnTx/>
                <a:uFillTx/>
                <a:latin typeface="Calibri" panose="020F0502020204030204"/>
                <a:ea typeface="+mj-ea"/>
                <a:cs typeface="+mj-cs"/>
              </a:rPr>
              <a:t>Thank you!</a:t>
            </a:r>
          </a:p>
        </p:txBody>
      </p:sp>
      <p:pic>
        <p:nvPicPr>
          <p:cNvPr id="12" name="Picture 11" descr="feedback survey QR code ">
            <a:extLst>
              <a:ext uri="{FF2B5EF4-FFF2-40B4-BE49-F238E27FC236}">
                <a16:creationId xmlns:a16="http://schemas.microsoft.com/office/drawing/2014/main" id="{0AAFEE74-D354-43B2-9F08-9F516C6D43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2639" y="1337247"/>
            <a:ext cx="2235961" cy="2235961"/>
          </a:xfrm>
          <a:prstGeom prst="rect">
            <a:avLst/>
          </a:prstGeom>
        </p:spPr>
      </p:pic>
      <p:sp>
        <p:nvSpPr>
          <p:cNvPr id="11" name="Ribbon: Curved and Tilted Down 10">
            <a:extLst>
              <a:ext uri="{FF2B5EF4-FFF2-40B4-BE49-F238E27FC236}">
                <a16:creationId xmlns:a16="http://schemas.microsoft.com/office/drawing/2014/main" id="{CDB2E829-86A8-4D31-AD21-0C25D6AAF448}"/>
              </a:ext>
            </a:extLst>
          </p:cNvPr>
          <p:cNvSpPr/>
          <p:nvPr/>
        </p:nvSpPr>
        <p:spPr>
          <a:xfrm>
            <a:off x="200303" y="3684857"/>
            <a:ext cx="5150860" cy="976312"/>
          </a:xfrm>
          <a:prstGeom prst="ellipseRibbon">
            <a:avLst>
              <a:gd name="adj1" fmla="val 32480"/>
              <a:gd name="adj2" fmla="val 71658"/>
              <a:gd name="adj3" fmla="val 138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t>Feedback Survey</a:t>
            </a:r>
            <a:endParaRPr lang="en-US"/>
          </a:p>
        </p:txBody>
      </p:sp>
      <p:pic>
        <p:nvPicPr>
          <p:cNvPr id="6" name="Picture 5" descr="Qr code">
            <a:extLst>
              <a:ext uri="{FF2B5EF4-FFF2-40B4-BE49-F238E27FC236}">
                <a16:creationId xmlns:a16="http://schemas.microsoft.com/office/drawing/2014/main" id="{FCFE47E7-FE71-4B62-9328-33FFCA2DF9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3400" y="1478916"/>
            <a:ext cx="1952625" cy="1952625"/>
          </a:xfrm>
          <a:prstGeom prst="rect">
            <a:avLst/>
          </a:prstGeom>
        </p:spPr>
      </p:pic>
      <p:sp>
        <p:nvSpPr>
          <p:cNvPr id="13" name="Ribbon: Curved and Tilted Down 12">
            <a:extLst>
              <a:ext uri="{FF2B5EF4-FFF2-40B4-BE49-F238E27FC236}">
                <a16:creationId xmlns:a16="http://schemas.microsoft.com/office/drawing/2014/main" id="{5DC0B23D-AF32-430C-8224-A5EFA8FD0107}"/>
              </a:ext>
            </a:extLst>
          </p:cNvPr>
          <p:cNvSpPr/>
          <p:nvPr/>
        </p:nvSpPr>
        <p:spPr>
          <a:xfrm>
            <a:off x="6359454" y="3684858"/>
            <a:ext cx="4914151" cy="1053329"/>
          </a:xfrm>
          <a:prstGeom prst="ellipseRibbon">
            <a:avLst>
              <a:gd name="adj1" fmla="val 32480"/>
              <a:gd name="adj2" fmla="val 71658"/>
              <a:gd name="adj3" fmla="val 138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t>Subscribe to Updates</a:t>
            </a:r>
            <a:endParaRPr lang="en-US"/>
          </a:p>
        </p:txBody>
      </p:sp>
      <p:sp>
        <p:nvSpPr>
          <p:cNvPr id="2" name="TextBox 1">
            <a:extLst>
              <a:ext uri="{FF2B5EF4-FFF2-40B4-BE49-F238E27FC236}">
                <a16:creationId xmlns:a16="http://schemas.microsoft.com/office/drawing/2014/main" id="{BE382815-68F3-4E0E-A523-84254B91771A}"/>
              </a:ext>
            </a:extLst>
          </p:cNvPr>
          <p:cNvSpPr txBox="1"/>
          <p:nvPr/>
        </p:nvSpPr>
        <p:spPr>
          <a:xfrm>
            <a:off x="580222" y="5218158"/>
            <a:ext cx="1161177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t>**The presentation and a recording will be posted on the HM&amp;AR website.  </a:t>
            </a:r>
          </a:p>
        </p:txBody>
      </p:sp>
      <p:sp>
        <p:nvSpPr>
          <p:cNvPr id="3" name="Footer Placeholder 2"/>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Copyright ©Texas Education Agency, 2020.  All rights reserved.</a:t>
            </a: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1200" b="0" i="0" u="none" strike="noStrike" kern="1200" cap="none" spc="0" normalizeH="0" baseline="0" noProof="0" dirty="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773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09558" y="4926784"/>
            <a:ext cx="8445799" cy="1674817"/>
          </a:xfrm>
          <a:prstGeom prst="rect">
            <a:avLst/>
          </a:prstGeom>
        </p:spPr>
        <p:txBody>
          <a:bodyPr vert="horz" wrap="square" lIns="0" tIns="12700" rIns="0" bIns="0" rtlCol="0">
            <a:spAutoFit/>
          </a:bodyPr>
          <a:lstStyle/>
          <a:p>
            <a:pPr marL="12700">
              <a:lnSpc>
                <a:spcPct val="100000"/>
              </a:lnSpc>
              <a:spcBef>
                <a:spcPts val="100"/>
              </a:spcBef>
            </a:pPr>
            <a:r>
              <a:rPr lang="en-US" sz="5400"/>
              <a:t>Texas Education for Homeless Children and Youth</a:t>
            </a:r>
            <a:endParaRPr sz="5400"/>
          </a:p>
        </p:txBody>
      </p:sp>
    </p:spTree>
    <p:extLst>
      <p:ext uri="{BB962C8B-B14F-4D97-AF65-F5344CB8AC3E}">
        <p14:creationId xmlns:p14="http://schemas.microsoft.com/office/powerpoint/2010/main" val="34083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9DCB4-89D6-40FE-8A57-49AEE6B782CE}"/>
              </a:ext>
            </a:extLst>
          </p:cNvPr>
          <p:cNvSpPr>
            <a:spLocks noGrp="1"/>
          </p:cNvSpPr>
          <p:nvPr>
            <p:ph type="title"/>
          </p:nvPr>
        </p:nvSpPr>
        <p:spPr>
          <a:xfrm>
            <a:off x="465782" y="128321"/>
            <a:ext cx="11508870" cy="751350"/>
          </a:xfrm>
        </p:spPr>
        <p:txBody>
          <a:bodyPr>
            <a:normAutofit fontScale="90000"/>
          </a:bodyPr>
          <a:lstStyle/>
          <a:p>
            <a:pPr algn="ctr"/>
            <a:r>
              <a:rPr lang="en-US"/>
              <a:t>2019-2022 Statewide Data</a:t>
            </a:r>
            <a:br>
              <a:rPr lang="en-US"/>
            </a:br>
            <a:r>
              <a:rPr lang="en-US"/>
              <a:t>Homeless Student Identification</a:t>
            </a:r>
          </a:p>
        </p:txBody>
      </p:sp>
      <p:sp>
        <p:nvSpPr>
          <p:cNvPr id="4" name="Footer Placeholder 3">
            <a:extLst>
              <a:ext uri="{FF2B5EF4-FFF2-40B4-BE49-F238E27FC236}">
                <a16:creationId xmlns:a16="http://schemas.microsoft.com/office/drawing/2014/main" id="{9DD6C4D8-124F-4F60-B4AC-29F60918A65C}"/>
              </a:ext>
            </a:extLst>
          </p:cNvPr>
          <p:cNvSpPr>
            <a:spLocks noGrp="1"/>
          </p:cNvSpPr>
          <p:nvPr>
            <p:ph type="ftr" sz="quarter" idx="3"/>
          </p:nvPr>
        </p:nvSpPr>
        <p:spPr/>
        <p:txBody>
          <a:bodyPr/>
          <a:lstStyle/>
          <a:p>
            <a:r>
              <a:rPr lang="en-US">
                <a:solidFill>
                  <a:schemeClr val="bg1">
                    <a:lumMod val="50000"/>
                  </a:schemeClr>
                </a:solidFill>
              </a:rPr>
              <a:t>Copyright ©Texas Education Agency, 2022.  All rights reserved</a:t>
            </a:r>
          </a:p>
        </p:txBody>
      </p:sp>
      <p:graphicFrame>
        <p:nvGraphicFramePr>
          <p:cNvPr id="11" name="Content Placeholder 7" descr="A chart that includes homeless statewide identification data.&#10;2019-2020  - 111,401&#10;2018-2019 - 114,055&#10;2017-2018 - 231,3105&#10;2016-2017 - 111,177">
            <a:extLst>
              <a:ext uri="{FF2B5EF4-FFF2-40B4-BE49-F238E27FC236}">
                <a16:creationId xmlns:a16="http://schemas.microsoft.com/office/drawing/2014/main" id="{5536E3EF-9471-4458-BBE4-A40D9727E753}"/>
              </a:ext>
            </a:extLst>
          </p:cNvPr>
          <p:cNvGraphicFramePr>
            <a:graphicFrameLocks noGrp="1"/>
          </p:cNvGraphicFramePr>
          <p:nvPr>
            <p:ph idx="1"/>
          </p:nvPr>
        </p:nvGraphicFramePr>
        <p:xfrm>
          <a:off x="856075" y="711882"/>
          <a:ext cx="10403971" cy="5036274"/>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a:extLst>
              <a:ext uri="{FF2B5EF4-FFF2-40B4-BE49-F238E27FC236}">
                <a16:creationId xmlns:a16="http://schemas.microsoft.com/office/drawing/2014/main" id="{D23F8E44-6A8F-4951-988B-9C4AC3D66E10}"/>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8612" y="2694431"/>
            <a:ext cx="1723484" cy="2580135"/>
          </a:xfrm>
          <a:prstGeom prst="rect">
            <a:avLst/>
          </a:prstGeom>
        </p:spPr>
      </p:pic>
      <p:pic>
        <p:nvPicPr>
          <p:cNvPr id="7" name="Picture 6">
            <a:extLst>
              <a:ext uri="{FF2B5EF4-FFF2-40B4-BE49-F238E27FC236}">
                <a16:creationId xmlns:a16="http://schemas.microsoft.com/office/drawing/2014/main" id="{A56C67B6-969D-4AD0-B1FD-DDF54979D465}"/>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09694" y="2694431"/>
            <a:ext cx="1723484" cy="2580136"/>
          </a:xfrm>
          <a:prstGeom prst="rect">
            <a:avLst/>
          </a:prstGeom>
        </p:spPr>
      </p:pic>
    </p:spTree>
    <p:extLst>
      <p:ext uri="{BB962C8B-B14F-4D97-AF65-F5344CB8AC3E}">
        <p14:creationId xmlns:p14="http://schemas.microsoft.com/office/powerpoint/2010/main" val="34558420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90448-DC4F-41E1-9C78-E8B016C4035A}"/>
              </a:ext>
            </a:extLst>
          </p:cNvPr>
          <p:cNvSpPr>
            <a:spLocks noGrp="1"/>
          </p:cNvSpPr>
          <p:nvPr>
            <p:ph type="title"/>
          </p:nvPr>
        </p:nvSpPr>
        <p:spPr>
          <a:xfrm>
            <a:off x="2201841" y="167275"/>
            <a:ext cx="9814668" cy="751350"/>
          </a:xfrm>
        </p:spPr>
        <p:txBody>
          <a:bodyPr>
            <a:noAutofit/>
          </a:bodyPr>
          <a:lstStyle/>
          <a:p>
            <a:pPr algn="ctr"/>
            <a:r>
              <a:rPr lang="en-US" sz="3000">
                <a:latin typeface="+mn-lt"/>
              </a:rPr>
              <a:t>Who is covered by the </a:t>
            </a:r>
            <a:br>
              <a:rPr lang="en-US" sz="3000">
                <a:latin typeface="+mn-lt"/>
              </a:rPr>
            </a:br>
            <a:r>
              <a:rPr lang="en-US" sz="3000">
                <a:latin typeface="+mn-lt"/>
              </a:rPr>
              <a:t>McKinney-Vento Homeless Assistance Act?</a:t>
            </a:r>
            <a:endParaRPr lang="en-US" sz="3000"/>
          </a:p>
        </p:txBody>
      </p:sp>
      <p:sp>
        <p:nvSpPr>
          <p:cNvPr id="4" name="Content Placeholder 3" descr="McKinney-Vento Definition">
            <a:extLst>
              <a:ext uri="{FF2B5EF4-FFF2-40B4-BE49-F238E27FC236}">
                <a16:creationId xmlns:a16="http://schemas.microsoft.com/office/drawing/2014/main" id="{47819BAA-D639-4845-A957-FD96E9EC4CB6}"/>
              </a:ext>
            </a:extLst>
          </p:cNvPr>
          <p:cNvSpPr>
            <a:spLocks noGrp="1"/>
          </p:cNvSpPr>
          <p:nvPr>
            <p:ph idx="1"/>
          </p:nvPr>
        </p:nvSpPr>
        <p:spPr>
          <a:xfrm>
            <a:off x="1782619" y="1382804"/>
            <a:ext cx="9929091" cy="4645891"/>
          </a:xfrm>
        </p:spPr>
        <p:txBody>
          <a:bodyPr lIns="91440" tIns="45720" rIns="91440" bIns="45720" anchor="t"/>
          <a:lstStyle/>
          <a:p>
            <a:pPr lvl="1">
              <a:lnSpc>
                <a:spcPct val="110000"/>
              </a:lnSpc>
            </a:pPr>
            <a:r>
              <a:rPr lang="en-US" sz="2600" b="1"/>
              <a:t>Children and youth who lack a fixed, regular, and adequate nighttime residence, including children and youth:</a:t>
            </a:r>
            <a:endParaRPr lang="en-US" sz="2600">
              <a:latin typeface="Arial Black" panose="020B0A04020102020204" pitchFamily="34" charset="0"/>
            </a:endParaRPr>
          </a:p>
          <a:p>
            <a:pPr lvl="2">
              <a:lnSpc>
                <a:spcPct val="110000"/>
              </a:lnSpc>
              <a:buClr>
                <a:schemeClr val="accent1"/>
              </a:buClr>
              <a:buFont typeface="Wingdings" panose="020B0604020202020204" pitchFamily="34" charset="0"/>
              <a:buChar char="§"/>
            </a:pPr>
            <a:r>
              <a:rPr lang="en-US" sz="2400">
                <a:latin typeface="+mn-lt"/>
                <a:ea typeface="Calibri" charset="0"/>
                <a:cs typeface="Arial"/>
              </a:rPr>
              <a:t>Sharing the housing of other persons due to the loss of housing, economic hardship, or similar reason</a:t>
            </a:r>
          </a:p>
          <a:p>
            <a:pPr lvl="2">
              <a:lnSpc>
                <a:spcPct val="110000"/>
              </a:lnSpc>
              <a:buClr>
                <a:schemeClr val="accent1"/>
              </a:buClr>
              <a:buFont typeface="Wingdings" panose="020B0604020202020204" pitchFamily="34" charset="0"/>
              <a:buChar char="§"/>
            </a:pPr>
            <a:r>
              <a:rPr lang="en-US" sz="2400">
                <a:latin typeface="+mn-lt"/>
                <a:ea typeface="Calibri" charset="0"/>
                <a:cs typeface="Arial"/>
              </a:rPr>
              <a:t>Living in motels, hotels, trailer parks, or camping grounds, due to the lack of alternative adequate accommodations</a:t>
            </a:r>
          </a:p>
          <a:p>
            <a:pPr lvl="2">
              <a:lnSpc>
                <a:spcPct val="110000"/>
              </a:lnSpc>
              <a:buClr>
                <a:schemeClr val="accent1"/>
              </a:buClr>
              <a:buFont typeface="Wingdings" panose="020B0604020202020204" pitchFamily="34" charset="0"/>
              <a:buChar char="§"/>
            </a:pPr>
            <a:r>
              <a:rPr lang="en-US" sz="2400">
                <a:latin typeface="+mn-lt"/>
                <a:ea typeface="Calibri" charset="0"/>
                <a:cs typeface="Arial"/>
              </a:rPr>
              <a:t>Living in emergency or transitional shelters, or are abandoned in hospitals</a:t>
            </a:r>
          </a:p>
          <a:p>
            <a:pPr lvl="2">
              <a:lnSpc>
                <a:spcPct val="110000"/>
              </a:lnSpc>
              <a:buClr>
                <a:schemeClr val="accent1"/>
              </a:buClr>
              <a:buFont typeface="Wingdings" panose="020B0604020202020204" pitchFamily="34" charset="0"/>
              <a:buChar char="§"/>
            </a:pPr>
            <a:r>
              <a:rPr lang="en-US" sz="2400">
                <a:latin typeface="+mn-lt"/>
                <a:ea typeface="Calibri" charset="0"/>
                <a:cs typeface="Calibri"/>
              </a:rPr>
              <a:t>Living in a public or private place not designated for or ordinarily used as a regular sleeping accommodation for human beings</a:t>
            </a:r>
          </a:p>
          <a:p>
            <a:pPr lvl="2">
              <a:lnSpc>
                <a:spcPct val="110000"/>
              </a:lnSpc>
              <a:buClr>
                <a:schemeClr val="accent1"/>
              </a:buClr>
              <a:buFont typeface="Wingdings" panose="020B0604020202020204" pitchFamily="34" charset="0"/>
              <a:buChar char="§"/>
            </a:pPr>
            <a:endParaRPr lang="en-US" sz="2200">
              <a:latin typeface="+mn-lt"/>
              <a:ea typeface="Calibri" charset="0"/>
              <a:cs typeface="Arial" panose="020B0604020202020204" pitchFamily="34" charset="0"/>
            </a:endParaRPr>
          </a:p>
          <a:p>
            <a:pPr marL="457200" lvl="1" indent="0">
              <a:buNone/>
            </a:pPr>
            <a:endParaRPr lang="en-US"/>
          </a:p>
          <a:p>
            <a:pPr marL="0" indent="0">
              <a:buNone/>
            </a:pPr>
            <a:endParaRPr lang="en-US"/>
          </a:p>
        </p:txBody>
      </p:sp>
      <p:sp>
        <p:nvSpPr>
          <p:cNvPr id="6" name="Footer Placeholder 5">
            <a:extLst>
              <a:ext uri="{FF2B5EF4-FFF2-40B4-BE49-F238E27FC236}">
                <a16:creationId xmlns:a16="http://schemas.microsoft.com/office/drawing/2014/main" id="{19E0D686-CDB2-43DC-B161-7821DADE06C1}"/>
              </a:ext>
            </a:extLst>
          </p:cNvPr>
          <p:cNvSpPr>
            <a:spLocks noGrp="1"/>
          </p:cNvSpPr>
          <p:nvPr>
            <p:ph type="ftr" sz="quarter" idx="11"/>
          </p:nvPr>
        </p:nvSpPr>
        <p:spPr>
          <a:xfrm>
            <a:off x="4689764" y="6508162"/>
            <a:ext cx="4114800" cy="365125"/>
          </a:xfrm>
        </p:spPr>
        <p:txBody>
          <a:bodyPr/>
          <a:lstStyle/>
          <a:p>
            <a:r>
              <a:rPr lang="en-US"/>
              <a:t>Copyright ©Texas Education Agency, 2022.  All rights reserved</a:t>
            </a:r>
          </a:p>
        </p:txBody>
      </p:sp>
    </p:spTree>
    <p:extLst>
      <p:ext uri="{BB962C8B-B14F-4D97-AF65-F5344CB8AC3E}">
        <p14:creationId xmlns:p14="http://schemas.microsoft.com/office/powerpoint/2010/main" val="4188610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990448-DC4F-41E1-9C78-E8B016C4035A}"/>
              </a:ext>
            </a:extLst>
          </p:cNvPr>
          <p:cNvSpPr>
            <a:spLocks noGrp="1"/>
          </p:cNvSpPr>
          <p:nvPr>
            <p:ph type="title"/>
          </p:nvPr>
        </p:nvSpPr>
        <p:spPr>
          <a:xfrm>
            <a:off x="2226225" y="403823"/>
            <a:ext cx="9814668" cy="751350"/>
          </a:xfrm>
        </p:spPr>
        <p:txBody>
          <a:bodyPr>
            <a:noAutofit/>
          </a:bodyPr>
          <a:lstStyle/>
          <a:p>
            <a:pPr algn="ctr"/>
            <a:r>
              <a:rPr lang="en-US" sz="3000" dirty="0">
                <a:latin typeface="+mn-lt"/>
              </a:rPr>
              <a:t>Who is covered by the </a:t>
            </a:r>
            <a:br>
              <a:rPr lang="en-US" sz="3000" dirty="0">
                <a:latin typeface="+mn-lt"/>
              </a:rPr>
            </a:br>
            <a:r>
              <a:rPr lang="en-US" sz="3000" dirty="0">
                <a:latin typeface="+mn-lt"/>
              </a:rPr>
              <a:t>McKinney-Vento Homeless Assistance Act?</a:t>
            </a:r>
            <a:br>
              <a:rPr lang="en-US" sz="3000" dirty="0">
                <a:latin typeface="+mn-lt"/>
              </a:rPr>
            </a:br>
            <a:r>
              <a:rPr lang="en-US" sz="3000" dirty="0">
                <a:solidFill>
                  <a:schemeClr val="bg1"/>
                </a:solidFill>
              </a:rPr>
              <a:t>1</a:t>
            </a:r>
            <a:endParaRPr lang="en-US" sz="3000" dirty="0"/>
          </a:p>
        </p:txBody>
      </p:sp>
      <p:sp>
        <p:nvSpPr>
          <p:cNvPr id="4" name="Content Placeholder 3" descr="McKinney-Vento Definition">
            <a:extLst>
              <a:ext uri="{FF2B5EF4-FFF2-40B4-BE49-F238E27FC236}">
                <a16:creationId xmlns:a16="http://schemas.microsoft.com/office/drawing/2014/main" id="{47819BAA-D639-4845-A957-FD96E9EC4CB6}"/>
              </a:ext>
            </a:extLst>
          </p:cNvPr>
          <p:cNvSpPr>
            <a:spLocks noGrp="1"/>
          </p:cNvSpPr>
          <p:nvPr>
            <p:ph idx="1"/>
          </p:nvPr>
        </p:nvSpPr>
        <p:spPr>
          <a:xfrm>
            <a:off x="1749258" y="1391720"/>
            <a:ext cx="9888560" cy="4628059"/>
          </a:xfrm>
        </p:spPr>
        <p:txBody>
          <a:bodyPr lIns="91440" tIns="45720" rIns="91440" bIns="45720" anchor="t"/>
          <a:lstStyle/>
          <a:p>
            <a:pPr lvl="1">
              <a:lnSpc>
                <a:spcPct val="110000"/>
              </a:lnSpc>
            </a:pPr>
            <a:r>
              <a:rPr lang="en-US" sz="2600" b="1">
                <a:latin typeface="+mn-lt"/>
              </a:rPr>
              <a:t>Children and youth who lack a fixed, regular, and adequate nighttime residence, including children and youth:</a:t>
            </a:r>
            <a:endParaRPr lang="en-US" sz="2600">
              <a:latin typeface="+mn-lt"/>
              <a:ea typeface="Calibri" charset="0"/>
              <a:cs typeface="Calibri" charset="0"/>
            </a:endParaRPr>
          </a:p>
          <a:p>
            <a:pPr lvl="2">
              <a:lnSpc>
                <a:spcPct val="110000"/>
              </a:lnSpc>
              <a:buClr>
                <a:schemeClr val="accent1"/>
              </a:buClr>
              <a:buSzPct val="95000"/>
              <a:buFont typeface="Wingdings" panose="020B0604020202020204" pitchFamily="34" charset="0"/>
              <a:buChar char="§"/>
            </a:pPr>
            <a:r>
              <a:rPr lang="en-US" sz="2400">
                <a:latin typeface="+mn-lt"/>
                <a:ea typeface="Calibri" charset="0"/>
                <a:cs typeface="Calibri"/>
              </a:rPr>
              <a:t>Living in cars, parks, public spaces, abandoned buildings, substandard housing, bus or train stations, or similar settings</a:t>
            </a:r>
            <a:endParaRPr lang="en-US" sz="2200">
              <a:latin typeface="+mn-lt"/>
              <a:ea typeface="Calibri" charset="0"/>
              <a:cs typeface="Calibri"/>
            </a:endParaRPr>
          </a:p>
          <a:p>
            <a:pPr lvl="2">
              <a:lnSpc>
                <a:spcPct val="110000"/>
              </a:lnSpc>
              <a:buClr>
                <a:schemeClr val="accent1"/>
              </a:buClr>
              <a:buSzPct val="95000"/>
              <a:buFont typeface="Wingdings" panose="020B0604020202020204" pitchFamily="34" charset="0"/>
              <a:buChar char="§"/>
            </a:pPr>
            <a:r>
              <a:rPr lang="en-US" sz="2400">
                <a:latin typeface="+mn-lt"/>
                <a:ea typeface="Calibri" charset="0"/>
                <a:cs typeface="Calibri"/>
              </a:rPr>
              <a:t>Migratory children living in the above circumstanc</a:t>
            </a:r>
            <a:r>
              <a:rPr lang="en-US" sz="2200">
                <a:latin typeface="+mn-lt"/>
                <a:ea typeface="Calibri" charset="0"/>
                <a:cs typeface="Calibri"/>
              </a:rPr>
              <a:t>es </a:t>
            </a:r>
            <a:r>
              <a:rPr lang="en-US" sz="2200">
                <a:latin typeface="Arial "/>
                <a:ea typeface="Calibri" charset="0"/>
                <a:cs typeface="Calibri"/>
              </a:rPr>
              <a:t>								</a:t>
            </a:r>
            <a:r>
              <a:rPr lang="en-US" sz="1800">
                <a:latin typeface="+mn-lt"/>
                <a:ea typeface="Calibri" charset="0"/>
                <a:cs typeface="Calibri"/>
              </a:rPr>
              <a:t>[42 U.S.C. § 11434a(2)]</a:t>
            </a:r>
          </a:p>
          <a:p>
            <a:pPr lvl="2">
              <a:lnSpc>
                <a:spcPct val="110000"/>
              </a:lnSpc>
              <a:buClr>
                <a:schemeClr val="accent1"/>
              </a:buClr>
              <a:buSzPct val="95000"/>
              <a:buFont typeface="Wingdings" panose="020B0604020202020204" pitchFamily="34" charset="0"/>
              <a:buChar char="§"/>
            </a:pPr>
            <a:r>
              <a:rPr lang="en-US" sz="2400">
                <a:latin typeface="+mn-lt"/>
                <a:ea typeface="Calibri" charset="0"/>
                <a:cs typeface="Calibri"/>
              </a:rPr>
              <a:t>Unaccompanied youth includes a homeless child or youth not in the physical custody of a parent or guardian</a:t>
            </a:r>
            <a:r>
              <a:rPr lang="en-US" sz="2400">
                <a:ea typeface="Calibri" charset="0"/>
                <a:cs typeface="Calibri"/>
              </a:rPr>
              <a:t> </a:t>
            </a:r>
          </a:p>
          <a:p>
            <a:pPr lvl="2">
              <a:lnSpc>
                <a:spcPct val="110000"/>
              </a:lnSpc>
              <a:buClr>
                <a:schemeClr val="accent1"/>
              </a:buClr>
              <a:buSzPct val="95000"/>
              <a:buFont typeface="Wingdings" panose="05000000000000000000" pitchFamily="2" charset="2"/>
              <a:buChar char="§"/>
            </a:pPr>
            <a:r>
              <a:rPr lang="en-US" sz="2200">
                <a:latin typeface="Arial "/>
                <a:ea typeface="Calibri" charset="0"/>
                <a:cs typeface="Calibri"/>
              </a:rPr>
              <a:t>				</a:t>
            </a:r>
            <a:r>
              <a:rPr lang="en-US" sz="1400">
                <a:latin typeface="Arial "/>
                <a:ea typeface="Calibri" charset="0"/>
                <a:cs typeface="Calibri"/>
              </a:rPr>
              <a:t>           </a:t>
            </a:r>
            <a:r>
              <a:rPr lang="en-US" sz="1400">
                <a:latin typeface="+mn-lt"/>
                <a:ea typeface="Calibri" charset="0"/>
                <a:cs typeface="Calibri"/>
              </a:rPr>
              <a:t>		</a:t>
            </a:r>
            <a:r>
              <a:rPr lang="en-US" sz="1800">
                <a:latin typeface="+mn-lt"/>
                <a:ea typeface="Calibri" charset="0"/>
                <a:cs typeface="Calibri"/>
              </a:rPr>
              <a:t>[42 U.S.C § 11434a(6)]</a:t>
            </a:r>
          </a:p>
          <a:p>
            <a:endParaRPr lang="en-US"/>
          </a:p>
        </p:txBody>
      </p:sp>
      <p:sp>
        <p:nvSpPr>
          <p:cNvPr id="6" name="Footer Placeholder 5">
            <a:extLst>
              <a:ext uri="{FF2B5EF4-FFF2-40B4-BE49-F238E27FC236}">
                <a16:creationId xmlns:a16="http://schemas.microsoft.com/office/drawing/2014/main" id="{9138B661-0E00-4A79-A6EC-9635B5B501FF}"/>
              </a:ext>
            </a:extLst>
          </p:cNvPr>
          <p:cNvSpPr>
            <a:spLocks noGrp="1"/>
          </p:cNvSpPr>
          <p:nvPr>
            <p:ph type="ftr" sz="quarter" idx="11"/>
          </p:nvPr>
        </p:nvSpPr>
        <p:spPr>
          <a:xfrm>
            <a:off x="4932903" y="6492874"/>
            <a:ext cx="4114800" cy="365125"/>
          </a:xfrm>
        </p:spPr>
        <p:txBody>
          <a:bodyPr/>
          <a:lstStyle/>
          <a:p>
            <a:r>
              <a:rPr lang="en-US"/>
              <a:t>Copyright ©Texas Education Agency, 2022.  All rights reserved</a:t>
            </a:r>
          </a:p>
        </p:txBody>
      </p:sp>
    </p:spTree>
    <p:extLst>
      <p:ext uri="{BB962C8B-B14F-4D97-AF65-F5344CB8AC3E}">
        <p14:creationId xmlns:p14="http://schemas.microsoft.com/office/powerpoint/2010/main" val="49511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E5A42-7AAE-AA1F-A4C8-2821BA5C1233}"/>
              </a:ext>
            </a:extLst>
          </p:cNvPr>
          <p:cNvSpPr>
            <a:spLocks noGrp="1"/>
          </p:cNvSpPr>
          <p:nvPr>
            <p:ph type="title"/>
          </p:nvPr>
        </p:nvSpPr>
        <p:spPr>
          <a:xfrm>
            <a:off x="712380" y="338909"/>
            <a:ext cx="11121657" cy="751350"/>
          </a:xfrm>
        </p:spPr>
        <p:txBody>
          <a:bodyPr/>
          <a:lstStyle/>
          <a:p>
            <a:pPr algn="ctr"/>
            <a:r>
              <a:rPr lang="en-US"/>
              <a:t>2019-2022 Statewide Homeless Data by Living Situation</a:t>
            </a:r>
          </a:p>
        </p:txBody>
      </p:sp>
      <p:sp>
        <p:nvSpPr>
          <p:cNvPr id="4" name="Footer Placeholder 3">
            <a:extLst>
              <a:ext uri="{FF2B5EF4-FFF2-40B4-BE49-F238E27FC236}">
                <a16:creationId xmlns:a16="http://schemas.microsoft.com/office/drawing/2014/main" id="{21307F0B-CA74-A7DC-FFCB-D6A30CC18F8E}"/>
              </a:ext>
            </a:extLst>
          </p:cNvPr>
          <p:cNvSpPr>
            <a:spLocks noGrp="1"/>
          </p:cNvSpPr>
          <p:nvPr>
            <p:ph type="ftr" sz="quarter" idx="3"/>
          </p:nvPr>
        </p:nvSpPr>
        <p:spPr/>
        <p:txBody>
          <a:bodyPr/>
          <a:lstStyle/>
          <a:p>
            <a:r>
              <a:rPr lang="en-US"/>
              <a:t>Copyright ©Texas Education Agency, 2022.  All rights reserved</a:t>
            </a:r>
          </a:p>
        </p:txBody>
      </p:sp>
      <p:graphicFrame>
        <p:nvGraphicFramePr>
          <p:cNvPr id="9" name="Content Placeholder 8">
            <a:extLst>
              <a:ext uri="{FF2B5EF4-FFF2-40B4-BE49-F238E27FC236}">
                <a16:creationId xmlns:a16="http://schemas.microsoft.com/office/drawing/2014/main" id="{735EB50E-8040-3C7E-E6E1-C63AEC68EFAA}"/>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2421557467"/>
              </p:ext>
            </p:extLst>
          </p:nvPr>
        </p:nvGraphicFramePr>
        <p:xfrm>
          <a:off x="712788" y="1495425"/>
          <a:ext cx="1062355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01621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C5558E85-A9A5-48C5-915F-B88A027DA93F}"/>
              </a:ext>
            </a:extLst>
          </p:cNvPr>
          <p:cNvSpPr>
            <a:spLocks noGrp="1"/>
          </p:cNvSpPr>
          <p:nvPr>
            <p:ph type="title"/>
          </p:nvPr>
        </p:nvSpPr>
        <p:spPr>
          <a:xfrm>
            <a:off x="712379" y="19118"/>
            <a:ext cx="11121657" cy="751350"/>
          </a:xfrm>
        </p:spPr>
        <p:txBody>
          <a:bodyPr/>
          <a:lstStyle/>
          <a:p>
            <a:pPr algn="ctr"/>
            <a:r>
              <a:rPr lang="en-US"/>
              <a:t>TSDS PEIMS Homeless Status Codes</a:t>
            </a:r>
          </a:p>
        </p:txBody>
      </p:sp>
      <p:sp>
        <p:nvSpPr>
          <p:cNvPr id="4" name="Footer Placeholder 3">
            <a:extLst>
              <a:ext uri="{FF2B5EF4-FFF2-40B4-BE49-F238E27FC236}">
                <a16:creationId xmlns:a16="http://schemas.microsoft.com/office/drawing/2014/main" id="{9C1C066C-6577-45C5-9D20-18ADEA86C44C}"/>
              </a:ext>
            </a:extLst>
          </p:cNvPr>
          <p:cNvSpPr>
            <a:spLocks noGrp="1"/>
          </p:cNvSpPr>
          <p:nvPr>
            <p:ph type="ftr" sz="quarter" idx="3"/>
          </p:nvPr>
        </p:nvSpPr>
        <p:spPr/>
        <p:txBody>
          <a:bodyPr anchor="ctr">
            <a:normAutofit/>
          </a:bodyPr>
          <a:lstStyle/>
          <a:p>
            <a:pPr>
              <a:spcAft>
                <a:spcPts val="600"/>
              </a:spcAft>
            </a:pPr>
            <a:r>
              <a:rPr lang="en-US">
                <a:solidFill>
                  <a:schemeClr val="tx1"/>
                </a:solidFill>
              </a:rPr>
              <a:t>Copyright ©Texas Education Agency, 2022.  All rights reserved</a:t>
            </a:r>
          </a:p>
        </p:txBody>
      </p:sp>
      <p:pic>
        <p:nvPicPr>
          <p:cNvPr id="13" name="Content Placeholder 12" descr="Screenshot of TSDS PEIMS Homeless Status Coding Chart.&#10;">
            <a:extLst>
              <a:ext uri="{FF2B5EF4-FFF2-40B4-BE49-F238E27FC236}">
                <a16:creationId xmlns:a16="http://schemas.microsoft.com/office/drawing/2014/main" id="{376DB2B6-F77F-4134-8D9F-AC886180A54D}"/>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1129" b="-1"/>
          <a:stretch/>
        </p:blipFill>
        <p:spPr>
          <a:xfrm>
            <a:off x="1043522" y="770468"/>
            <a:ext cx="10104956" cy="5140681"/>
          </a:xfrm>
          <a:ln w="12700">
            <a:solidFill>
              <a:schemeClr val="tx1"/>
            </a:solidFill>
          </a:ln>
        </p:spPr>
      </p:pic>
      <p:sp>
        <p:nvSpPr>
          <p:cNvPr id="2" name="Rectangle 1">
            <a:extLst>
              <a:ext uri="{FF2B5EF4-FFF2-40B4-BE49-F238E27FC236}">
                <a16:creationId xmlns:a16="http://schemas.microsoft.com/office/drawing/2014/main" id="{684DFD6B-F93A-EF9A-9EFB-99293FE36254}"/>
              </a:ext>
              <a:ext uri="{C183D7F6-B498-43B3-948B-1728B52AA6E4}">
                <adec:decorative xmlns:adec="http://schemas.microsoft.com/office/drawing/2017/decorative" val="1"/>
              </a:ext>
            </a:extLst>
          </p:cNvPr>
          <p:cNvSpPr/>
          <p:nvPr/>
        </p:nvSpPr>
        <p:spPr>
          <a:xfrm>
            <a:off x="926275" y="1606137"/>
            <a:ext cx="546265" cy="3645725"/>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0699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C5558E85-A9A5-48C5-915F-B88A027DA93F}"/>
              </a:ext>
            </a:extLst>
          </p:cNvPr>
          <p:cNvSpPr>
            <a:spLocks noGrp="1"/>
          </p:cNvSpPr>
          <p:nvPr>
            <p:ph type="title"/>
          </p:nvPr>
        </p:nvSpPr>
        <p:spPr/>
        <p:txBody>
          <a:bodyPr/>
          <a:lstStyle/>
          <a:p>
            <a:pPr algn="ctr"/>
            <a:r>
              <a:rPr lang="en-US"/>
              <a:t>TSDS PEIMS Unaccompanied Youth Code</a:t>
            </a:r>
          </a:p>
        </p:txBody>
      </p:sp>
      <p:pic>
        <p:nvPicPr>
          <p:cNvPr id="14" name="Content Placeholder 13" descr="Screenshot of TSDS PEIMS Unaccompanied Youth Code Chart.">
            <a:extLst>
              <a:ext uri="{FF2B5EF4-FFF2-40B4-BE49-F238E27FC236}">
                <a16:creationId xmlns:a16="http://schemas.microsoft.com/office/drawing/2014/main" id="{F720869C-43DC-4560-AFF4-3B19AFF52B0D}"/>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12597" y="2011680"/>
            <a:ext cx="11521440" cy="2076034"/>
          </a:xfrm>
          <a:ln w="12700">
            <a:solidFill>
              <a:schemeClr val="tx1"/>
            </a:solidFill>
          </a:ln>
        </p:spPr>
      </p:pic>
      <p:sp>
        <p:nvSpPr>
          <p:cNvPr id="4" name="Footer Placeholder 3">
            <a:extLst>
              <a:ext uri="{FF2B5EF4-FFF2-40B4-BE49-F238E27FC236}">
                <a16:creationId xmlns:a16="http://schemas.microsoft.com/office/drawing/2014/main" id="{9C1C066C-6577-45C5-9D20-18ADEA86C44C}"/>
              </a:ext>
            </a:extLst>
          </p:cNvPr>
          <p:cNvSpPr>
            <a:spLocks noGrp="1"/>
          </p:cNvSpPr>
          <p:nvPr>
            <p:ph type="ftr" sz="quarter" idx="3"/>
          </p:nvPr>
        </p:nvSpPr>
        <p:spPr/>
        <p:txBody>
          <a:bodyPr anchor="ctr">
            <a:normAutofit/>
          </a:bodyPr>
          <a:lstStyle/>
          <a:p>
            <a:pPr>
              <a:spcAft>
                <a:spcPts val="600"/>
              </a:spcAft>
            </a:pPr>
            <a:r>
              <a:rPr lang="en-US"/>
              <a:t>Copyright ©Texas Education Agency, 2022.  All rights reserved</a:t>
            </a:r>
          </a:p>
        </p:txBody>
      </p:sp>
      <p:sp>
        <p:nvSpPr>
          <p:cNvPr id="2" name="Rectangle 1">
            <a:extLst>
              <a:ext uri="{FF2B5EF4-FFF2-40B4-BE49-F238E27FC236}">
                <a16:creationId xmlns:a16="http://schemas.microsoft.com/office/drawing/2014/main" id="{FFA890DA-6BCB-DE92-5C97-711D6CA33B88}"/>
              </a:ext>
              <a:ext uri="{C183D7F6-B498-43B3-948B-1728B52AA6E4}">
                <adec:decorative xmlns:adec="http://schemas.microsoft.com/office/drawing/2017/decorative" val="1"/>
              </a:ext>
            </a:extLst>
          </p:cNvPr>
          <p:cNvSpPr/>
          <p:nvPr/>
        </p:nvSpPr>
        <p:spPr>
          <a:xfrm>
            <a:off x="237506" y="3028209"/>
            <a:ext cx="403761" cy="961901"/>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97799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A Theme light">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heme light" id="{FA7F2856-CA1C-4E9E-8B51-15237420CEB0}" vid="{C31ADCA4-6FCC-4780-9B6B-837A4B628BA7}"/>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A Theme light">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heme light" id="{FA7F2856-CA1C-4E9E-8B51-15237420CEB0}" vid="{C31ADCA4-6FCC-4780-9B6B-837A4B628BA7}"/>
    </a:ext>
  </a:extLst>
</a:theme>
</file>

<file path=ppt/theme/theme3.xml><?xml version="1.0" encoding="utf-8"?>
<a:theme xmlns:a="http://schemas.openxmlformats.org/drawingml/2006/main" name="2_TEA Theme light">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heme light" id="{FA7F2856-CA1C-4E9E-8B51-15237420CEB0}" vid="{C31ADCA4-6FCC-4780-9B6B-837A4B628BA7}"/>
    </a:ext>
  </a:extLst>
</a:theme>
</file>

<file path=ppt/theme/theme4.xml><?xml version="1.0" encoding="utf-8"?>
<a:theme xmlns:a="http://schemas.openxmlformats.org/drawingml/2006/main" name="TEA Theme light">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heme light" id="{FA7F2856-CA1C-4E9E-8B51-15237420CEB0}" vid="{C31ADCA4-6FCC-4780-9B6B-837A4B628BA7}"/>
    </a:ext>
  </a:extLst>
</a:theme>
</file>

<file path=ppt/theme/theme5.xml><?xml version="1.0" encoding="utf-8"?>
<a:theme xmlns:a="http://schemas.openxmlformats.org/drawingml/2006/main" name="TEA Theme light">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heme light" id="{FA7F2856-CA1C-4E9E-8B51-15237420CEB0}" vid="{C31ADCA4-6FCC-4780-9B6B-837A4B628BA7}"/>
    </a:ext>
  </a:extLst>
</a:theme>
</file>

<file path=ppt/theme/theme6.xml><?xml version="1.0" encoding="utf-8"?>
<a:theme xmlns:a="http://schemas.openxmlformats.org/drawingml/2006/main" name="TEA Theme light">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heme light" id="{FA7F2856-CA1C-4E9E-8B51-15237420CEB0}" vid="{C31ADCA4-6FCC-4780-9B6B-837A4B628BA7}"/>
    </a:ext>
  </a:extLst>
</a:theme>
</file>

<file path=ppt/theme/theme7.xml><?xml version="1.0" encoding="utf-8"?>
<a:theme xmlns:a="http://schemas.openxmlformats.org/drawingml/2006/main" name="1_TEA Theme light">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heme light" id="{FA7F2856-CA1C-4E9E-8B51-15237420CEB0}" vid="{C31ADCA4-6FCC-4780-9B6B-837A4B628BA7}"/>
    </a:ext>
  </a:extLst>
</a:theme>
</file>

<file path=ppt/theme/theme8.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RSA EANS I Round Two Presentation (Rough Draft) " id="{579B8974-2169-4270-B47A-2A680CCAA528}" vid="{A974A5DE-DE0A-469C-BD35-980E5F7F1384}"/>
    </a:ext>
  </a:extLst>
</a:theme>
</file>

<file path=ppt/theme/theme9.xml><?xml version="1.0" encoding="utf-8"?>
<a:theme xmlns:a="http://schemas.openxmlformats.org/drawingml/2006/main" name="Sectio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RSA EANS I Round Two Presentation (Rough Draft) " id="{579B8974-2169-4270-B47A-2A680CCAA528}" vid="{6D669116-E90C-4207-83B3-4E206F0A136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C22111E5032994D9929430E28761B6D" ma:contentTypeVersion="16" ma:contentTypeDescription="Create a new document." ma:contentTypeScope="" ma:versionID="7379bd6cacbe0ce508c91a5b7d1b3939">
  <xsd:schema xmlns:xsd="http://www.w3.org/2001/XMLSchema" xmlns:xs="http://www.w3.org/2001/XMLSchema" xmlns:p="http://schemas.microsoft.com/office/2006/metadata/properties" xmlns:ns2="d395af0d-6f54-4ecc-993d-401e44c580c8" xmlns:ns3="ce289257-e3bb-48ca-82ac-afe0df52fa3f" targetNamespace="http://schemas.microsoft.com/office/2006/metadata/properties" ma:root="true" ma:fieldsID="c27d19dc0b466e39dba1047ba47d98f8" ns2:_="" ns3:_="">
    <xsd:import namespace="d395af0d-6f54-4ecc-993d-401e44c580c8"/>
    <xsd:import namespace="ce289257-e3bb-48ca-82ac-afe0df52fa3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95af0d-6f54-4ecc-993d-401e44c580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3b7a77b5-e59d-49f3-97a2-3dde868dbe2d"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289257-e3bb-48ca-82ac-afe0df52fa3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a5287302-6612-4db1-8a38-ce33fe6df925}" ma:internalName="TaxCatchAll" ma:showField="CatchAllData" ma:web="ce289257-e3bb-48ca-82ac-afe0df52fa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e289257-e3bb-48ca-82ac-afe0df52fa3f">
      <UserInfo>
        <DisplayName>Porter, Justin</DisplayName>
        <AccountId>63</AccountId>
        <AccountType/>
      </UserInfo>
      <UserInfo>
        <DisplayName>Lopez, Cal</DisplayName>
        <AccountId>13</AccountId>
        <AccountType/>
      </UserInfo>
      <UserInfo>
        <DisplayName>Brown, Jordan</DisplayName>
        <AccountId>12</AccountId>
        <AccountType/>
      </UserInfo>
      <UserInfo>
        <DisplayName>Bowser, Jimmy</DisplayName>
        <AccountId>205</AccountId>
        <AccountType/>
      </UserInfo>
      <UserInfo>
        <DisplayName>Watson, LaTrenda</DisplayName>
        <AccountId>44</AccountId>
        <AccountType/>
      </UserInfo>
      <UserInfo>
        <DisplayName>Muffoletto, Jamie</DisplayName>
        <AccountId>375</AccountId>
        <AccountType/>
      </UserInfo>
    </SharedWithUsers>
    <lcf76f155ced4ddcb4097134ff3c332f xmlns="d395af0d-6f54-4ecc-993d-401e44c580c8">
      <Terms xmlns="http://schemas.microsoft.com/office/infopath/2007/PartnerControls"/>
    </lcf76f155ced4ddcb4097134ff3c332f>
    <TaxCatchAll xmlns="ce289257-e3bb-48ca-82ac-afe0df52fa3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1EA3C6-15CC-4353-A9F3-2DDA7EA4C4F7}">
  <ds:schemaRefs>
    <ds:schemaRef ds:uri="ce289257-e3bb-48ca-82ac-afe0df52fa3f"/>
    <ds:schemaRef ds:uri="d395af0d-6f54-4ecc-993d-401e44c580c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F0DBC94-F19D-4038-A286-94F1DA0FA958}">
  <ds:schemaRefs>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http://purl.org/dc/dcmitype/"/>
    <ds:schemaRef ds:uri="ce289257-e3bb-48ca-82ac-afe0df52fa3f"/>
    <ds:schemaRef ds:uri="http://schemas.microsoft.com/office/infopath/2007/PartnerControls"/>
    <ds:schemaRef ds:uri="d395af0d-6f54-4ecc-993d-401e44c580c8"/>
    <ds:schemaRef ds:uri="http://www.w3.org/XML/1998/namespace"/>
  </ds:schemaRefs>
</ds:datastoreItem>
</file>

<file path=customXml/itemProps3.xml><?xml version="1.0" encoding="utf-8"?>
<ds:datastoreItem xmlns:ds="http://schemas.openxmlformats.org/officeDocument/2006/customXml" ds:itemID="{EFABFF06-AF52-4F26-9815-2143EB8B5CA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TotalTime>
  <Words>2378</Words>
  <Application>Microsoft Office PowerPoint</Application>
  <PresentationFormat>Widescreen</PresentationFormat>
  <Paragraphs>252</Paragraphs>
  <Slides>26</Slides>
  <Notes>22</Notes>
  <HiddenSlides>0</HiddenSlides>
  <MMClips>0</MMClips>
  <ScaleCrop>false</ScaleCrop>
  <HeadingPairs>
    <vt:vector size="8" baseType="variant">
      <vt:variant>
        <vt:lpstr>Fonts Used</vt:lpstr>
      </vt:variant>
      <vt:variant>
        <vt:i4>13</vt:i4>
      </vt:variant>
      <vt:variant>
        <vt:lpstr>Theme</vt:lpstr>
      </vt:variant>
      <vt:variant>
        <vt:i4>11</vt:i4>
      </vt:variant>
      <vt:variant>
        <vt:lpstr>Embedded OLE Servers</vt:lpstr>
      </vt:variant>
      <vt:variant>
        <vt:i4>1</vt:i4>
      </vt:variant>
      <vt:variant>
        <vt:lpstr>Slide Titles</vt:lpstr>
      </vt:variant>
      <vt:variant>
        <vt:i4>26</vt:i4>
      </vt:variant>
    </vt:vector>
  </HeadingPairs>
  <TitlesOfParts>
    <vt:vector size="51" baseType="lpstr">
      <vt:lpstr>Arial</vt:lpstr>
      <vt:lpstr>Arial </vt:lpstr>
      <vt:lpstr>Arial Black</vt:lpstr>
      <vt:lpstr>Calibri</vt:lpstr>
      <vt:lpstr>Calibri (Body)</vt:lpstr>
      <vt:lpstr>Calibri Light</vt:lpstr>
      <vt:lpstr>Courier New</vt:lpstr>
      <vt:lpstr>Open Sans</vt:lpstr>
      <vt:lpstr>Open Sans (Body)</vt:lpstr>
      <vt:lpstr>Open Sans (Headings)</vt:lpstr>
      <vt:lpstr>Open Sans Light</vt:lpstr>
      <vt:lpstr>Open Sans Semibold</vt:lpstr>
      <vt:lpstr>Wingdings</vt:lpstr>
      <vt:lpstr>TEA Theme light</vt:lpstr>
      <vt:lpstr>TEA Theme light</vt:lpstr>
      <vt:lpstr>2_TEA Theme light</vt:lpstr>
      <vt:lpstr>TEA Theme light</vt:lpstr>
      <vt:lpstr>TEA Theme light</vt:lpstr>
      <vt:lpstr>TEA Theme light</vt:lpstr>
      <vt:lpstr>1_TEA Theme light</vt:lpstr>
      <vt:lpstr>TEA Main Slide</vt:lpstr>
      <vt:lpstr>Section Title Slides</vt:lpstr>
      <vt:lpstr>Office Theme</vt:lpstr>
      <vt:lpstr>Office Theme</vt:lpstr>
      <vt:lpstr>think-cell Slide</vt:lpstr>
      <vt:lpstr>ESC PEIMS Coordinator Meeting  McKinney-Vento Student Identification  Wednesday, March 20, 2023  1:00pm-1:30pm  </vt:lpstr>
      <vt:lpstr>Highly Mobile and At-Risk Student Programs Division </vt:lpstr>
      <vt:lpstr>Texas Education for Homeless Children and Youth</vt:lpstr>
      <vt:lpstr>2019-2022 Statewide Data Homeless Student Identification</vt:lpstr>
      <vt:lpstr>Who is covered by the  McKinney-Vento Homeless Assistance Act?</vt:lpstr>
      <vt:lpstr>Who is covered by the  McKinney-Vento Homeless Assistance Act? 1</vt:lpstr>
      <vt:lpstr>2019-2022 Statewide Homeless Data by Living Situation</vt:lpstr>
      <vt:lpstr>TSDS PEIMS Homeless Status Codes</vt:lpstr>
      <vt:lpstr>TSDS PEIMS Unaccompanied Youth Code</vt:lpstr>
      <vt:lpstr>McKinney-Vento Student Coding</vt:lpstr>
      <vt:lpstr>McKinney-Vento Liaisons Facilitate Identification of Students Experiencing Homelessness by Providing:</vt:lpstr>
      <vt:lpstr>McKinney-Vento Student Identification</vt:lpstr>
      <vt:lpstr>Identification of Unaccompanied Homeless Youth </vt:lpstr>
      <vt:lpstr>Sample: Student Residency Questionnaire (SRQ)</vt:lpstr>
      <vt:lpstr>Sample Intake Form – Page 1</vt:lpstr>
      <vt:lpstr>Sample Intake Form – Page 2</vt:lpstr>
      <vt:lpstr>Next Steps</vt:lpstr>
      <vt:lpstr>McKinney-Vento 101/Identification Resources</vt:lpstr>
      <vt:lpstr>ESSER Special Populations Brief – NEW!</vt:lpstr>
      <vt:lpstr>General Updates </vt:lpstr>
      <vt:lpstr>TEHCY Upcoming Trainings and Events</vt:lpstr>
      <vt:lpstr>HMAR Webinars 2022-23 | Save the date!  </vt:lpstr>
      <vt:lpstr>HM&amp;AR Division Emails </vt:lpstr>
      <vt:lpstr>TEA HMAR Webpage </vt:lpstr>
      <vt:lpstr>Sign Up for Updat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ghly Mobile and At-Risk Student Programs Division Webinar  Thursday, April 1, 2021  1:00pm-2:30pm</dc:title>
  <dc:creator>Brown, Jordan</dc:creator>
  <cp:lastModifiedBy>Muffoletto, Jamie</cp:lastModifiedBy>
  <cp:revision>82</cp:revision>
  <dcterms:created xsi:type="dcterms:W3CDTF">2021-03-23T22:11:18Z</dcterms:created>
  <dcterms:modified xsi:type="dcterms:W3CDTF">2023-03-20T22:2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22111E5032994D9929430E28761B6D</vt:lpwstr>
  </property>
  <property fmtid="{D5CDD505-2E9C-101B-9397-08002B2CF9AE}" pid="3" name="MediaServiceImageTags">
    <vt:lpwstr/>
  </property>
</Properties>
</file>